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5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6.xml" ContentType="application/vnd.openxmlformats-officedocument.theme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7.xml" ContentType="application/vnd.openxmlformats-officedocument.theme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8" r:id="rId3"/>
    <p:sldMasterId id="2147483683" r:id="rId4"/>
    <p:sldMasterId id="2147484120" r:id="rId5"/>
    <p:sldMasterId id="2147484142" r:id="rId6"/>
    <p:sldMasterId id="2147484155" r:id="rId7"/>
    <p:sldMasterId id="2147484166" r:id="rId8"/>
  </p:sldMasterIdLst>
  <p:notesMasterIdLst>
    <p:notesMasterId r:id="rId36"/>
  </p:notesMasterIdLst>
  <p:handoutMasterIdLst>
    <p:handoutMasterId r:id="rId37"/>
  </p:handoutMasterIdLst>
  <p:sldIdLst>
    <p:sldId id="2147477496" r:id="rId9"/>
    <p:sldId id="2549" r:id="rId10"/>
    <p:sldId id="2147477494" r:id="rId11"/>
    <p:sldId id="1749" r:id="rId12"/>
    <p:sldId id="1742" r:id="rId13"/>
    <p:sldId id="1164" r:id="rId14"/>
    <p:sldId id="1176" r:id="rId15"/>
    <p:sldId id="1436" r:id="rId16"/>
    <p:sldId id="358" r:id="rId17"/>
    <p:sldId id="1407" r:id="rId18"/>
    <p:sldId id="1677" r:id="rId19"/>
    <p:sldId id="2147477500" r:id="rId20"/>
    <p:sldId id="1717" r:id="rId21"/>
    <p:sldId id="2560" r:id="rId22"/>
    <p:sldId id="2566" r:id="rId23"/>
    <p:sldId id="1753" r:id="rId24"/>
    <p:sldId id="2443" r:id="rId25"/>
    <p:sldId id="2533" r:id="rId26"/>
    <p:sldId id="2544" r:id="rId27"/>
    <p:sldId id="2147477499" r:id="rId28"/>
    <p:sldId id="2546" r:id="rId29"/>
    <p:sldId id="2147477497" r:id="rId30"/>
    <p:sldId id="2545" r:id="rId31"/>
    <p:sldId id="2147477498" r:id="rId32"/>
    <p:sldId id="2547" r:id="rId33"/>
    <p:sldId id="2147477501" r:id="rId34"/>
    <p:sldId id="2548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0913F-0CEB-44BF-87F0-347BF3ABCD67}" v="54" dt="2024-06-06T16:19:01.4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892" autoAdjust="0"/>
    <p:restoredTop sz="95706" autoAdjust="0"/>
  </p:normalViewPr>
  <p:slideViewPr>
    <p:cSldViewPr snapToGrid="0">
      <p:cViewPr varScale="1">
        <p:scale>
          <a:sx n="87" d="100"/>
          <a:sy n="87" d="100"/>
        </p:scale>
        <p:origin x="96" y="6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viewProps" Target="viewProp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microsoft.com/office/2015/10/relationships/revisionInfo" Target="revisionInfo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Cernik" userId="1cd5a177061dda4b" providerId="LiveId" clId="{B510913F-0CEB-44BF-87F0-347BF3ABCD67}"/>
    <pc:docChg chg="undo custSel addSld delSld modSld sldOrd delMainMaster modMainMaster">
      <pc:chgData name="Alex Cernik" userId="1cd5a177061dda4b" providerId="LiveId" clId="{B510913F-0CEB-44BF-87F0-347BF3ABCD67}" dt="2024-06-06T16:19:42.742" v="643" actId="26606"/>
      <pc:docMkLst>
        <pc:docMk/>
      </pc:docMkLst>
      <pc:sldChg chg="del">
        <pc:chgData name="Alex Cernik" userId="1cd5a177061dda4b" providerId="LiveId" clId="{B510913F-0CEB-44BF-87F0-347BF3ABCD67}" dt="2024-06-03T20:55:09.758" v="0" actId="47"/>
        <pc:sldMkLst>
          <pc:docMk/>
          <pc:sldMk cId="349362563" sldId="258"/>
        </pc:sldMkLst>
      </pc:sldChg>
      <pc:sldChg chg="add del">
        <pc:chgData name="Alex Cernik" userId="1cd5a177061dda4b" providerId="LiveId" clId="{B510913F-0CEB-44BF-87F0-347BF3ABCD67}" dt="2024-06-03T21:07:30.551" v="195" actId="47"/>
        <pc:sldMkLst>
          <pc:docMk/>
          <pc:sldMk cId="0" sldId="261"/>
        </pc:sldMkLst>
      </pc:sldChg>
      <pc:sldChg chg="add">
        <pc:chgData name="Alex Cernik" userId="1cd5a177061dda4b" providerId="LiveId" clId="{B510913F-0CEB-44BF-87F0-347BF3ABCD67}" dt="2024-06-03T20:57:39.027" v="16"/>
        <pc:sldMkLst>
          <pc:docMk/>
          <pc:sldMk cId="1731080062" sldId="358"/>
        </pc:sldMkLst>
      </pc:sldChg>
      <pc:sldChg chg="modSp add mod ord">
        <pc:chgData name="Alex Cernik" userId="1cd5a177061dda4b" providerId="LiveId" clId="{B510913F-0CEB-44BF-87F0-347BF3ABCD67}" dt="2024-06-04T20:09:45.566" v="386" actId="20577"/>
        <pc:sldMkLst>
          <pc:docMk/>
          <pc:sldMk cId="667886481" sldId="1164"/>
        </pc:sldMkLst>
        <pc:spChg chg="mod">
          <ac:chgData name="Alex Cernik" userId="1cd5a177061dda4b" providerId="LiveId" clId="{B510913F-0CEB-44BF-87F0-347BF3ABCD67}" dt="2024-06-04T20:09:45.566" v="386" actId="20577"/>
          <ac:spMkLst>
            <pc:docMk/>
            <pc:sldMk cId="667886481" sldId="1164"/>
            <ac:spMk id="102403" creationId="{00000000-0000-0000-0000-000000000000}"/>
          </ac:spMkLst>
        </pc:spChg>
      </pc:sldChg>
      <pc:sldChg chg="add">
        <pc:chgData name="Alex Cernik" userId="1cd5a177061dda4b" providerId="LiveId" clId="{B510913F-0CEB-44BF-87F0-347BF3ABCD67}" dt="2024-06-03T20:57:39.027" v="16"/>
        <pc:sldMkLst>
          <pc:docMk/>
          <pc:sldMk cId="249784201" sldId="1176"/>
        </pc:sldMkLst>
      </pc:sldChg>
      <pc:sldChg chg="add del">
        <pc:chgData name="Alex Cernik" userId="1cd5a177061dda4b" providerId="LiveId" clId="{B510913F-0CEB-44BF-87F0-347BF3ABCD67}" dt="2024-06-04T20:00:02.417" v="303" actId="47"/>
        <pc:sldMkLst>
          <pc:docMk/>
          <pc:sldMk cId="1190909718" sldId="1401"/>
        </pc:sldMkLst>
      </pc:sldChg>
      <pc:sldChg chg="add">
        <pc:chgData name="Alex Cernik" userId="1cd5a177061dda4b" providerId="LiveId" clId="{B510913F-0CEB-44BF-87F0-347BF3ABCD67}" dt="2024-06-03T20:57:39.027" v="16"/>
        <pc:sldMkLst>
          <pc:docMk/>
          <pc:sldMk cId="4251730867" sldId="1407"/>
        </pc:sldMkLst>
      </pc:sldChg>
      <pc:sldChg chg="add ord">
        <pc:chgData name="Alex Cernik" userId="1cd5a177061dda4b" providerId="LiveId" clId="{B510913F-0CEB-44BF-87F0-347BF3ABCD67}" dt="2024-06-04T20:00:12.493" v="305"/>
        <pc:sldMkLst>
          <pc:docMk/>
          <pc:sldMk cId="2301142193" sldId="1436"/>
        </pc:sldMkLst>
      </pc:sldChg>
      <pc:sldChg chg="add">
        <pc:chgData name="Alex Cernik" userId="1cd5a177061dda4b" providerId="LiveId" clId="{B510913F-0CEB-44BF-87F0-347BF3ABCD67}" dt="2024-06-03T20:57:39.027" v="16"/>
        <pc:sldMkLst>
          <pc:docMk/>
          <pc:sldMk cId="3566915949" sldId="1677"/>
        </pc:sldMkLst>
      </pc:sldChg>
      <pc:sldChg chg="add">
        <pc:chgData name="Alex Cernik" userId="1cd5a177061dda4b" providerId="LiveId" clId="{B510913F-0CEB-44BF-87F0-347BF3ABCD67}" dt="2024-06-04T20:28:13.420" v="497"/>
        <pc:sldMkLst>
          <pc:docMk/>
          <pc:sldMk cId="3358047357" sldId="1717"/>
        </pc:sldMkLst>
      </pc:sldChg>
      <pc:sldChg chg="add del">
        <pc:chgData name="Alex Cernik" userId="1cd5a177061dda4b" providerId="LiveId" clId="{B510913F-0CEB-44BF-87F0-347BF3ABCD67}" dt="2024-06-04T20:10:18.450" v="389"/>
        <pc:sldMkLst>
          <pc:docMk/>
          <pc:sldMk cId="3553969964" sldId="1742"/>
        </pc:sldMkLst>
      </pc:sldChg>
      <pc:sldChg chg="addSp modSp add mod">
        <pc:chgData name="Alex Cernik" userId="1cd5a177061dda4b" providerId="LiveId" clId="{B510913F-0CEB-44BF-87F0-347BF3ABCD67}" dt="2024-06-05T17:04:52.439" v="509" actId="20577"/>
        <pc:sldMkLst>
          <pc:docMk/>
          <pc:sldMk cId="1446538315" sldId="1749"/>
        </pc:sldMkLst>
        <pc:spChg chg="mod">
          <ac:chgData name="Alex Cernik" userId="1cd5a177061dda4b" providerId="LiveId" clId="{B510913F-0CEB-44BF-87F0-347BF3ABCD67}" dt="2024-06-05T17:04:52.439" v="509" actId="20577"/>
          <ac:spMkLst>
            <pc:docMk/>
            <pc:sldMk cId="1446538315" sldId="1749"/>
            <ac:spMk id="2" creationId="{E53F7C3A-ED1F-01C7-BAB0-9AC9148EBD37}"/>
          </ac:spMkLst>
        </pc:spChg>
        <pc:spChg chg="mod">
          <ac:chgData name="Alex Cernik" userId="1cd5a177061dda4b" providerId="LiveId" clId="{B510913F-0CEB-44BF-87F0-347BF3ABCD67}" dt="2024-06-04T20:10:40.648" v="401" actId="6549"/>
          <ac:spMkLst>
            <pc:docMk/>
            <pc:sldMk cId="1446538315" sldId="1749"/>
            <ac:spMk id="8" creationId="{CE088961-A809-09D1-FDE0-948BB3446D88}"/>
          </ac:spMkLst>
        </pc:spChg>
        <pc:picChg chg="add">
          <ac:chgData name="Alex Cernik" userId="1cd5a177061dda4b" providerId="LiveId" clId="{B510913F-0CEB-44BF-87F0-347BF3ABCD67}" dt="2024-06-04T20:08:21.499" v="318"/>
          <ac:picMkLst>
            <pc:docMk/>
            <pc:sldMk cId="1446538315" sldId="1749"/>
            <ac:picMk id="9" creationId="{4BD8DBC2-BD72-37F3-4BF5-CB89AD67E3EC}"/>
          </ac:picMkLst>
        </pc:picChg>
      </pc:sldChg>
      <pc:sldChg chg="add">
        <pc:chgData name="Alex Cernik" userId="1cd5a177061dda4b" providerId="LiveId" clId="{B510913F-0CEB-44BF-87F0-347BF3ABCD67}" dt="2024-06-03T20:57:39.027" v="16"/>
        <pc:sldMkLst>
          <pc:docMk/>
          <pc:sldMk cId="406250032" sldId="1753"/>
        </pc:sldMkLst>
      </pc:sldChg>
      <pc:sldChg chg="addSp delSp modSp mod">
        <pc:chgData name="Alex Cernik" userId="1cd5a177061dda4b" providerId="LiveId" clId="{B510913F-0CEB-44BF-87F0-347BF3ABCD67}" dt="2024-06-03T21:47:16.526" v="267" actId="478"/>
        <pc:sldMkLst>
          <pc:docMk/>
          <pc:sldMk cId="171961477" sldId="2443"/>
        </pc:sldMkLst>
        <pc:spChg chg="del">
          <ac:chgData name="Alex Cernik" userId="1cd5a177061dda4b" providerId="LiveId" clId="{B510913F-0CEB-44BF-87F0-347BF3ABCD67}" dt="2024-06-03T21:46:52.313" v="261" actId="478"/>
          <ac:spMkLst>
            <pc:docMk/>
            <pc:sldMk cId="171961477" sldId="2443"/>
            <ac:spMk id="2" creationId="{48D1EDC4-1740-B885-C6EF-B69FC5AB261B}"/>
          </ac:spMkLst>
        </pc:spChg>
        <pc:spChg chg="add del mod">
          <ac:chgData name="Alex Cernik" userId="1cd5a177061dda4b" providerId="LiveId" clId="{B510913F-0CEB-44BF-87F0-347BF3ABCD67}" dt="2024-06-03T21:47:16.526" v="267" actId="478"/>
          <ac:spMkLst>
            <pc:docMk/>
            <pc:sldMk cId="171961477" sldId="2443"/>
            <ac:spMk id="6" creationId="{28F5E11E-44FB-AD19-F023-A9CF06D93873}"/>
          </ac:spMkLst>
        </pc:spChg>
        <pc:picChg chg="add mod">
          <ac:chgData name="Alex Cernik" userId="1cd5a177061dda4b" providerId="LiveId" clId="{B510913F-0CEB-44BF-87F0-347BF3ABCD67}" dt="2024-06-03T21:47:03.028" v="264" actId="1440"/>
          <ac:picMkLst>
            <pc:docMk/>
            <pc:sldMk cId="171961477" sldId="2443"/>
            <ac:picMk id="8" creationId="{A0DEBDE4-31F2-0E5C-323F-A826F9460347}"/>
          </ac:picMkLst>
        </pc:picChg>
        <pc:picChg chg="mod">
          <ac:chgData name="Alex Cernik" userId="1cd5a177061dda4b" providerId="LiveId" clId="{B510913F-0CEB-44BF-87F0-347BF3ABCD67}" dt="2024-06-03T21:47:09.545" v="266" actId="1076"/>
          <ac:picMkLst>
            <pc:docMk/>
            <pc:sldMk cId="171961477" sldId="2443"/>
            <ac:picMk id="1026" creationId="{83D4CF79-CF69-DD93-E609-0AC5D85D14B1}"/>
          </ac:picMkLst>
        </pc:picChg>
      </pc:sldChg>
      <pc:sldChg chg="del">
        <pc:chgData name="Alex Cernik" userId="1cd5a177061dda4b" providerId="LiveId" clId="{B510913F-0CEB-44BF-87F0-347BF3ABCD67}" dt="2024-06-06T16:15:32.811" v="524" actId="47"/>
        <pc:sldMkLst>
          <pc:docMk/>
          <pc:sldMk cId="1657641800" sldId="2531"/>
        </pc:sldMkLst>
      </pc:sldChg>
      <pc:sldChg chg="add del">
        <pc:chgData name="Alex Cernik" userId="1cd5a177061dda4b" providerId="LiveId" clId="{B510913F-0CEB-44BF-87F0-347BF3ABCD67}" dt="2024-06-04T20:04:32.079" v="313" actId="47"/>
        <pc:sldMkLst>
          <pc:docMk/>
          <pc:sldMk cId="2497970035" sldId="2541"/>
        </pc:sldMkLst>
      </pc:sldChg>
      <pc:sldChg chg="addSp delSp modSp mod">
        <pc:chgData name="Alex Cernik" userId="1cd5a177061dda4b" providerId="LiveId" clId="{B510913F-0CEB-44BF-87F0-347BF3ABCD67}" dt="2024-06-06T16:16:19.612" v="588" actId="207"/>
        <pc:sldMkLst>
          <pc:docMk/>
          <pc:sldMk cId="1279744678" sldId="2547"/>
        </pc:sldMkLst>
        <pc:spChg chg="mod">
          <ac:chgData name="Alex Cernik" userId="1cd5a177061dda4b" providerId="LiveId" clId="{B510913F-0CEB-44BF-87F0-347BF3ABCD67}" dt="2024-06-06T16:16:19.612" v="588" actId="207"/>
          <ac:spMkLst>
            <pc:docMk/>
            <pc:sldMk cId="1279744678" sldId="2547"/>
            <ac:spMk id="3" creationId="{9EF414E4-F529-3036-7F02-4C8082E116E4}"/>
          </ac:spMkLst>
        </pc:spChg>
        <pc:picChg chg="del">
          <ac:chgData name="Alex Cernik" userId="1cd5a177061dda4b" providerId="LiveId" clId="{B510913F-0CEB-44BF-87F0-347BF3ABCD67}" dt="2024-06-03T21:07:46.175" v="196" actId="478"/>
          <ac:picMkLst>
            <pc:docMk/>
            <pc:sldMk cId="1279744678" sldId="2547"/>
            <ac:picMk id="6" creationId="{EEEED14D-C7FE-37B1-4D26-FB0187A24D5A}"/>
          </ac:picMkLst>
        </pc:picChg>
        <pc:picChg chg="add mod">
          <ac:chgData name="Alex Cernik" userId="1cd5a177061dda4b" providerId="LiveId" clId="{B510913F-0CEB-44BF-87F0-347BF3ABCD67}" dt="2024-06-03T21:10:13.186" v="243" actId="1076"/>
          <ac:picMkLst>
            <pc:docMk/>
            <pc:sldMk cId="1279744678" sldId="2547"/>
            <ac:picMk id="1026" creationId="{C1EEB1A4-CF9B-F203-CF28-D4F011D21F25}"/>
          </ac:picMkLst>
        </pc:picChg>
      </pc:sldChg>
      <pc:sldChg chg="addSp delSp modSp mod">
        <pc:chgData name="Alex Cernik" userId="1cd5a177061dda4b" providerId="LiveId" clId="{B510913F-0CEB-44BF-87F0-347BF3ABCD67}" dt="2024-06-03T21:10:06.637" v="242" actId="1076"/>
        <pc:sldMkLst>
          <pc:docMk/>
          <pc:sldMk cId="1173322001" sldId="2548"/>
        </pc:sldMkLst>
        <pc:picChg chg="add mod">
          <ac:chgData name="Alex Cernik" userId="1cd5a177061dda4b" providerId="LiveId" clId="{B510913F-0CEB-44BF-87F0-347BF3ABCD67}" dt="2024-06-03T21:10:06.637" v="242" actId="1076"/>
          <ac:picMkLst>
            <pc:docMk/>
            <pc:sldMk cId="1173322001" sldId="2548"/>
            <ac:picMk id="2" creationId="{FE39BA7C-2E4B-7FF9-42E1-0E58EEFFE186}"/>
          </ac:picMkLst>
        </pc:picChg>
        <pc:picChg chg="del">
          <ac:chgData name="Alex Cernik" userId="1cd5a177061dda4b" providerId="LiveId" clId="{B510913F-0CEB-44BF-87F0-347BF3ABCD67}" dt="2024-06-03T21:09:51.621" v="238" actId="478"/>
          <ac:picMkLst>
            <pc:docMk/>
            <pc:sldMk cId="1173322001" sldId="2548"/>
            <ac:picMk id="7" creationId="{99520F49-A929-1187-7E39-B8EAD5F88CE0}"/>
          </ac:picMkLst>
        </pc:picChg>
      </pc:sldChg>
      <pc:sldChg chg="addSp delSp modSp add mod">
        <pc:chgData name="Alex Cernik" userId="1cd5a177061dda4b" providerId="LiveId" clId="{B510913F-0CEB-44BF-87F0-347BF3ABCD67}" dt="2024-06-05T17:18:07.137" v="523" actId="113"/>
        <pc:sldMkLst>
          <pc:docMk/>
          <pc:sldMk cId="3823234024" sldId="2549"/>
        </pc:sldMkLst>
        <pc:spChg chg="mod">
          <ac:chgData name="Alex Cernik" userId="1cd5a177061dda4b" providerId="LiveId" clId="{B510913F-0CEB-44BF-87F0-347BF3ABCD67}" dt="2024-06-05T17:18:07.137" v="523" actId="113"/>
          <ac:spMkLst>
            <pc:docMk/>
            <pc:sldMk cId="3823234024" sldId="2549"/>
            <ac:spMk id="2" creationId="{ACF15DD8-2F3C-530F-58C0-86789F201321}"/>
          </ac:spMkLst>
        </pc:spChg>
        <pc:picChg chg="del mod">
          <ac:chgData name="Alex Cernik" userId="1cd5a177061dda4b" providerId="LiveId" clId="{B510913F-0CEB-44BF-87F0-347BF3ABCD67}" dt="2024-06-04T20:04:42.091" v="315" actId="478"/>
          <ac:picMkLst>
            <pc:docMk/>
            <pc:sldMk cId="3823234024" sldId="2549"/>
            <ac:picMk id="7" creationId="{033485AE-18B4-7C41-4D93-9514FACF0004}"/>
          </ac:picMkLst>
        </pc:picChg>
        <pc:picChg chg="add del mod">
          <ac:chgData name="Alex Cernik" userId="1cd5a177061dda4b" providerId="LiveId" clId="{B510913F-0CEB-44BF-87F0-347BF3ABCD67}" dt="2024-06-03T21:41:38.375" v="254" actId="478"/>
          <ac:picMkLst>
            <pc:docMk/>
            <pc:sldMk cId="3823234024" sldId="2549"/>
            <ac:picMk id="2050" creationId="{0B86499E-3DAA-015F-EEEB-3C1B730DE9D3}"/>
          </ac:picMkLst>
        </pc:picChg>
        <pc:picChg chg="add del mod">
          <ac:chgData name="Alex Cernik" userId="1cd5a177061dda4b" providerId="LiveId" clId="{B510913F-0CEB-44BF-87F0-347BF3ABCD67}" dt="2024-06-04T20:04:40.311" v="314" actId="478"/>
          <ac:picMkLst>
            <pc:docMk/>
            <pc:sldMk cId="3823234024" sldId="2549"/>
            <ac:picMk id="2052" creationId="{B65BC3B2-7BBB-793A-918C-711D294010BD}"/>
          </ac:picMkLst>
        </pc:picChg>
      </pc:sldChg>
      <pc:sldChg chg="add del">
        <pc:chgData name="Alex Cernik" userId="1cd5a177061dda4b" providerId="LiveId" clId="{B510913F-0CEB-44BF-87F0-347BF3ABCD67}" dt="2024-06-04T20:29:08.796" v="499" actId="47"/>
        <pc:sldMkLst>
          <pc:docMk/>
          <pc:sldMk cId="133171812" sldId="2557"/>
        </pc:sldMkLst>
      </pc:sldChg>
      <pc:sldChg chg="add ord">
        <pc:chgData name="Alex Cernik" userId="1cd5a177061dda4b" providerId="LiveId" clId="{B510913F-0CEB-44BF-87F0-347BF3ABCD67}" dt="2024-06-04T20:30:15.860" v="505"/>
        <pc:sldMkLst>
          <pc:docMk/>
          <pc:sldMk cId="57006977" sldId="2560"/>
        </pc:sldMkLst>
      </pc:sldChg>
      <pc:sldChg chg="add del">
        <pc:chgData name="Alex Cernik" userId="1cd5a177061dda4b" providerId="LiveId" clId="{B510913F-0CEB-44BF-87F0-347BF3ABCD67}" dt="2024-06-04T20:27:30.300" v="496" actId="47"/>
        <pc:sldMkLst>
          <pc:docMk/>
          <pc:sldMk cId="3297291886" sldId="2561"/>
        </pc:sldMkLst>
      </pc:sldChg>
      <pc:sldChg chg="add del">
        <pc:chgData name="Alex Cernik" userId="1cd5a177061dda4b" providerId="LiveId" clId="{B510913F-0CEB-44BF-87F0-347BF3ABCD67}" dt="2024-06-04T20:27:26.709" v="495" actId="47"/>
        <pc:sldMkLst>
          <pc:docMk/>
          <pc:sldMk cId="1371103622" sldId="2565"/>
        </pc:sldMkLst>
      </pc:sldChg>
      <pc:sldChg chg="add ord">
        <pc:chgData name="Alex Cernik" userId="1cd5a177061dda4b" providerId="LiveId" clId="{B510913F-0CEB-44BF-87F0-347BF3ABCD67}" dt="2024-06-04T20:30:09.876" v="503"/>
        <pc:sldMkLst>
          <pc:docMk/>
          <pc:sldMk cId="1099894235" sldId="2566"/>
        </pc:sldMkLst>
      </pc:sldChg>
      <pc:sldChg chg="del">
        <pc:chgData name="Alex Cernik" userId="1cd5a177061dda4b" providerId="LiveId" clId="{B510913F-0CEB-44BF-87F0-347BF3ABCD67}" dt="2024-06-03T20:55:10.376" v="1" actId="47"/>
        <pc:sldMkLst>
          <pc:docMk/>
          <pc:sldMk cId="1238209746" sldId="2147474061"/>
        </pc:sldMkLst>
      </pc:sldChg>
      <pc:sldChg chg="del">
        <pc:chgData name="Alex Cernik" userId="1cd5a177061dda4b" providerId="LiveId" clId="{B510913F-0CEB-44BF-87F0-347BF3ABCD67}" dt="2024-06-03T20:55:11.684" v="3" actId="47"/>
        <pc:sldMkLst>
          <pc:docMk/>
          <pc:sldMk cId="2461206523" sldId="2147475512"/>
        </pc:sldMkLst>
      </pc:sldChg>
      <pc:sldChg chg="del">
        <pc:chgData name="Alex Cernik" userId="1cd5a177061dda4b" providerId="LiveId" clId="{B510913F-0CEB-44BF-87F0-347BF3ABCD67}" dt="2024-06-03T20:55:13.757" v="7" actId="47"/>
        <pc:sldMkLst>
          <pc:docMk/>
          <pc:sldMk cId="3115229471" sldId="2147477459"/>
        </pc:sldMkLst>
      </pc:sldChg>
      <pc:sldChg chg="del">
        <pc:chgData name="Alex Cernik" userId="1cd5a177061dda4b" providerId="LiveId" clId="{B510913F-0CEB-44BF-87F0-347BF3ABCD67}" dt="2024-06-03T20:55:13.303" v="6" actId="47"/>
        <pc:sldMkLst>
          <pc:docMk/>
          <pc:sldMk cId="2880362212" sldId="2147477460"/>
        </pc:sldMkLst>
      </pc:sldChg>
      <pc:sldChg chg="del">
        <pc:chgData name="Alex Cernik" userId="1cd5a177061dda4b" providerId="LiveId" clId="{B510913F-0CEB-44BF-87F0-347BF3ABCD67}" dt="2024-06-03T20:55:12.810" v="5" actId="47"/>
        <pc:sldMkLst>
          <pc:docMk/>
          <pc:sldMk cId="3382584322" sldId="2147477461"/>
        </pc:sldMkLst>
      </pc:sldChg>
      <pc:sldChg chg="del">
        <pc:chgData name="Alex Cernik" userId="1cd5a177061dda4b" providerId="LiveId" clId="{B510913F-0CEB-44BF-87F0-347BF3ABCD67}" dt="2024-06-03T21:04:39.166" v="189" actId="47"/>
        <pc:sldMkLst>
          <pc:docMk/>
          <pc:sldMk cId="2234251632" sldId="2147477470"/>
        </pc:sldMkLst>
      </pc:sldChg>
      <pc:sldChg chg="del">
        <pc:chgData name="Alex Cernik" userId="1cd5a177061dda4b" providerId="LiveId" clId="{B510913F-0CEB-44BF-87F0-347BF3ABCD67}" dt="2024-06-03T20:55:14.227" v="8" actId="47"/>
        <pc:sldMkLst>
          <pc:docMk/>
          <pc:sldMk cId="183263701" sldId="2147477471"/>
        </pc:sldMkLst>
      </pc:sldChg>
      <pc:sldChg chg="del">
        <pc:chgData name="Alex Cernik" userId="1cd5a177061dda4b" providerId="LiveId" clId="{B510913F-0CEB-44BF-87F0-347BF3ABCD67}" dt="2024-06-03T20:55:14.917" v="9" actId="47"/>
        <pc:sldMkLst>
          <pc:docMk/>
          <pc:sldMk cId="2589819793" sldId="2147477485"/>
        </pc:sldMkLst>
      </pc:sldChg>
      <pc:sldChg chg="del">
        <pc:chgData name="Alex Cernik" userId="1cd5a177061dda4b" providerId="LiveId" clId="{B510913F-0CEB-44BF-87F0-347BF3ABCD67}" dt="2024-06-03T20:55:15.482" v="10" actId="47"/>
        <pc:sldMkLst>
          <pc:docMk/>
          <pc:sldMk cId="90956513" sldId="2147477490"/>
        </pc:sldMkLst>
      </pc:sldChg>
      <pc:sldChg chg="del">
        <pc:chgData name="Alex Cernik" userId="1cd5a177061dda4b" providerId="LiveId" clId="{B510913F-0CEB-44BF-87F0-347BF3ABCD67}" dt="2024-06-03T20:55:10.884" v="2" actId="47"/>
        <pc:sldMkLst>
          <pc:docMk/>
          <pc:sldMk cId="1658191914" sldId="2147477491"/>
        </pc:sldMkLst>
      </pc:sldChg>
      <pc:sldChg chg="del">
        <pc:chgData name="Alex Cernik" userId="1cd5a177061dda4b" providerId="LiveId" clId="{B510913F-0CEB-44BF-87F0-347BF3ABCD67}" dt="2024-06-03T20:55:15.987" v="11" actId="47"/>
        <pc:sldMkLst>
          <pc:docMk/>
          <pc:sldMk cId="3658892700" sldId="2147477492"/>
        </pc:sldMkLst>
      </pc:sldChg>
      <pc:sldChg chg="del">
        <pc:chgData name="Alex Cernik" userId="1cd5a177061dda4b" providerId="LiveId" clId="{B510913F-0CEB-44BF-87F0-347BF3ABCD67}" dt="2024-06-03T20:55:12.224" v="4" actId="47"/>
        <pc:sldMkLst>
          <pc:docMk/>
          <pc:sldMk cId="3573586283" sldId="2147477493"/>
        </pc:sldMkLst>
      </pc:sldChg>
      <pc:sldChg chg="ord">
        <pc:chgData name="Alex Cernik" userId="1cd5a177061dda4b" providerId="LiveId" clId="{B510913F-0CEB-44BF-87F0-347BF3ABCD67}" dt="2024-06-03T20:55:28.699" v="15"/>
        <pc:sldMkLst>
          <pc:docMk/>
          <pc:sldMk cId="1936475642" sldId="2147477494"/>
        </pc:sldMkLst>
      </pc:sldChg>
      <pc:sldChg chg="del ord">
        <pc:chgData name="Alex Cernik" userId="1cd5a177061dda4b" providerId="LiveId" clId="{B510913F-0CEB-44BF-87F0-347BF3ABCD67}" dt="2024-06-04T20:03:42.308" v="312" actId="47"/>
        <pc:sldMkLst>
          <pc:docMk/>
          <pc:sldMk cId="2872853082" sldId="2147477495"/>
        </pc:sldMkLst>
      </pc:sldChg>
      <pc:sldChg chg="addSp delSp modSp new mod setBg">
        <pc:chgData name="Alex Cernik" userId="1cd5a177061dda4b" providerId="LiveId" clId="{B510913F-0CEB-44BF-87F0-347BF3ABCD67}" dt="2024-06-03T21:40:09.088" v="244"/>
        <pc:sldMkLst>
          <pc:docMk/>
          <pc:sldMk cId="3711355766" sldId="2147477496"/>
        </pc:sldMkLst>
        <pc:spChg chg="del">
          <ac:chgData name="Alex Cernik" userId="1cd5a177061dda4b" providerId="LiveId" clId="{B510913F-0CEB-44BF-87F0-347BF3ABCD67}" dt="2024-06-03T21:04:34.553" v="188" actId="26606"/>
          <ac:spMkLst>
            <pc:docMk/>
            <pc:sldMk cId="3711355766" sldId="2147477496"/>
            <ac:spMk id="2" creationId="{A608C168-ECDA-7B42-17D3-B2E118C03AF7}"/>
          </ac:spMkLst>
        </pc:spChg>
        <pc:spChg chg="del">
          <ac:chgData name="Alex Cernik" userId="1cd5a177061dda4b" providerId="LiveId" clId="{B510913F-0CEB-44BF-87F0-347BF3ABCD67}" dt="2024-06-03T21:04:25.240" v="187" actId="22"/>
          <ac:spMkLst>
            <pc:docMk/>
            <pc:sldMk cId="3711355766" sldId="2147477496"/>
            <ac:spMk id="3" creationId="{F9B6AA24-20D8-01FF-0024-374C21DF8DA5}"/>
          </ac:spMkLst>
        </pc:spChg>
        <pc:spChg chg="mod">
          <ac:chgData name="Alex Cernik" userId="1cd5a177061dda4b" providerId="LiveId" clId="{B510913F-0CEB-44BF-87F0-347BF3ABCD67}" dt="2024-06-03T21:05:34.199" v="194" actId="26606"/>
          <ac:spMkLst>
            <pc:docMk/>
            <pc:sldMk cId="3711355766" sldId="2147477496"/>
            <ac:spMk id="4" creationId="{5114E24B-8C9F-C7E7-042A-5CB71EE70EB2}"/>
          </ac:spMkLst>
        </pc:spChg>
        <pc:spChg chg="add del">
          <ac:chgData name="Alex Cernik" userId="1cd5a177061dda4b" providerId="LiveId" clId="{B510913F-0CEB-44BF-87F0-347BF3ABCD67}" dt="2024-06-03T21:05:34.199" v="194" actId="26606"/>
          <ac:spMkLst>
            <pc:docMk/>
            <pc:sldMk cId="3711355766" sldId="2147477496"/>
            <ac:spMk id="11" creationId="{42A4FC2C-047E-45A5-965D-8E1E3BF09BC6}"/>
          </ac:spMkLst>
        </pc:spChg>
        <pc:spChg chg="add del">
          <ac:chgData name="Alex Cernik" userId="1cd5a177061dda4b" providerId="LiveId" clId="{B510913F-0CEB-44BF-87F0-347BF3ABCD67}" dt="2024-06-03T21:05:29.572" v="191" actId="26606"/>
          <ac:spMkLst>
            <pc:docMk/>
            <pc:sldMk cId="3711355766" sldId="2147477496"/>
            <ac:spMk id="16" creationId="{42A4FC2C-047E-45A5-965D-8E1E3BF09BC6}"/>
          </ac:spMkLst>
        </pc:spChg>
        <pc:spChg chg="add del">
          <ac:chgData name="Alex Cernik" userId="1cd5a177061dda4b" providerId="LiveId" clId="{B510913F-0CEB-44BF-87F0-347BF3ABCD67}" dt="2024-06-03T21:05:34.195" v="193" actId="26606"/>
          <ac:spMkLst>
            <pc:docMk/>
            <pc:sldMk cId="3711355766" sldId="2147477496"/>
            <ac:spMk id="18" creationId="{E2384209-CB15-4CDF-9D31-C44FD9A3F20D}"/>
          </ac:spMkLst>
        </pc:spChg>
        <pc:spChg chg="add del">
          <ac:chgData name="Alex Cernik" userId="1cd5a177061dda4b" providerId="LiveId" clId="{B510913F-0CEB-44BF-87F0-347BF3ABCD67}" dt="2024-06-03T21:05:34.195" v="193" actId="26606"/>
          <ac:spMkLst>
            <pc:docMk/>
            <pc:sldMk cId="3711355766" sldId="2147477496"/>
            <ac:spMk id="19" creationId="{AB8C311F-7253-4AED-9701-7FC0708C41C7}"/>
          </ac:spMkLst>
        </pc:spChg>
        <pc:spChg chg="add del">
          <ac:chgData name="Alex Cernik" userId="1cd5a177061dda4b" providerId="LiveId" clId="{B510913F-0CEB-44BF-87F0-347BF3ABCD67}" dt="2024-06-03T21:05:34.195" v="193" actId="26606"/>
          <ac:spMkLst>
            <pc:docMk/>
            <pc:sldMk cId="3711355766" sldId="2147477496"/>
            <ac:spMk id="20" creationId="{2633B3B5-CC90-43F0-8714-D31D1F3F0209}"/>
          </ac:spMkLst>
        </pc:spChg>
        <pc:spChg chg="add del">
          <ac:chgData name="Alex Cernik" userId="1cd5a177061dda4b" providerId="LiveId" clId="{B510913F-0CEB-44BF-87F0-347BF3ABCD67}" dt="2024-06-03T21:05:34.195" v="193" actId="26606"/>
          <ac:spMkLst>
            <pc:docMk/>
            <pc:sldMk cId="3711355766" sldId="2147477496"/>
            <ac:spMk id="22" creationId="{A8D57A06-A426-446D-B02C-A2DC6B62E45E}"/>
          </ac:spMkLst>
        </pc:spChg>
        <pc:spChg chg="add">
          <ac:chgData name="Alex Cernik" userId="1cd5a177061dda4b" providerId="LiveId" clId="{B510913F-0CEB-44BF-87F0-347BF3ABCD67}" dt="2024-06-03T21:05:34.199" v="194" actId="26606"/>
          <ac:spMkLst>
            <pc:docMk/>
            <pc:sldMk cId="3711355766" sldId="2147477496"/>
            <ac:spMk id="24" creationId="{AB8C311F-7253-4AED-9701-7FC0708C41C7}"/>
          </ac:spMkLst>
        </pc:spChg>
        <pc:spChg chg="add">
          <ac:chgData name="Alex Cernik" userId="1cd5a177061dda4b" providerId="LiveId" clId="{B510913F-0CEB-44BF-87F0-347BF3ABCD67}" dt="2024-06-03T21:05:34.199" v="194" actId="26606"/>
          <ac:spMkLst>
            <pc:docMk/>
            <pc:sldMk cId="3711355766" sldId="2147477496"/>
            <ac:spMk id="25" creationId="{FD073016-B734-483B-8953-5BADEE145112}"/>
          </ac:spMkLst>
        </pc:spChg>
        <pc:spChg chg="add">
          <ac:chgData name="Alex Cernik" userId="1cd5a177061dda4b" providerId="LiveId" clId="{B510913F-0CEB-44BF-87F0-347BF3ABCD67}" dt="2024-06-03T21:05:34.199" v="194" actId="26606"/>
          <ac:spMkLst>
            <pc:docMk/>
            <pc:sldMk cId="3711355766" sldId="2147477496"/>
            <ac:spMk id="26" creationId="{90A7EAB6-59D3-4325-8DE6-E0CA4009CE53}"/>
          </ac:spMkLst>
        </pc:spChg>
        <pc:spChg chg="add">
          <ac:chgData name="Alex Cernik" userId="1cd5a177061dda4b" providerId="LiveId" clId="{B510913F-0CEB-44BF-87F0-347BF3ABCD67}" dt="2024-06-03T21:05:34.199" v="194" actId="26606"/>
          <ac:spMkLst>
            <pc:docMk/>
            <pc:sldMk cId="3711355766" sldId="2147477496"/>
            <ac:spMk id="27" creationId="{A8D57A06-A426-446D-B02C-A2DC6B62E45E}"/>
          </ac:spMkLst>
        </pc:spChg>
        <pc:picChg chg="add mod ord">
          <ac:chgData name="Alex Cernik" userId="1cd5a177061dda4b" providerId="LiveId" clId="{B510913F-0CEB-44BF-87F0-347BF3ABCD67}" dt="2024-06-03T21:05:34.199" v="194" actId="26606"/>
          <ac:picMkLst>
            <pc:docMk/>
            <pc:sldMk cId="3711355766" sldId="2147477496"/>
            <ac:picMk id="6" creationId="{696AA1A6-BB34-0760-82A9-34AB75FDADDF}"/>
          </ac:picMkLst>
        </pc:picChg>
        <pc:picChg chg="add">
          <ac:chgData name="Alex Cernik" userId="1cd5a177061dda4b" providerId="LiveId" clId="{B510913F-0CEB-44BF-87F0-347BF3ABCD67}" dt="2024-06-03T21:40:09.088" v="244"/>
          <ac:picMkLst>
            <pc:docMk/>
            <pc:sldMk cId="3711355766" sldId="2147477496"/>
            <ac:picMk id="7" creationId="{300C8A8D-7979-5E4E-4A57-272F691B93D6}"/>
          </ac:picMkLst>
        </pc:picChg>
      </pc:sldChg>
      <pc:sldChg chg="add">
        <pc:chgData name="Alex Cernik" userId="1cd5a177061dda4b" providerId="LiveId" clId="{B510913F-0CEB-44BF-87F0-347BF3ABCD67}" dt="2024-06-04T19:30:50.669" v="268"/>
        <pc:sldMkLst>
          <pc:docMk/>
          <pc:sldMk cId="2025015486" sldId="2147477497"/>
        </pc:sldMkLst>
      </pc:sldChg>
      <pc:sldChg chg="add">
        <pc:chgData name="Alex Cernik" userId="1cd5a177061dda4b" providerId="LiveId" clId="{B510913F-0CEB-44BF-87F0-347BF3ABCD67}" dt="2024-06-04T19:31:07.743" v="269"/>
        <pc:sldMkLst>
          <pc:docMk/>
          <pc:sldMk cId="3071074887" sldId="2147477498"/>
        </pc:sldMkLst>
      </pc:sldChg>
      <pc:sldChg chg="add">
        <pc:chgData name="Alex Cernik" userId="1cd5a177061dda4b" providerId="LiveId" clId="{B510913F-0CEB-44BF-87F0-347BF3ABCD67}" dt="2024-06-04T19:31:21.716" v="270"/>
        <pc:sldMkLst>
          <pc:docMk/>
          <pc:sldMk cId="2100678658" sldId="2147477499"/>
        </pc:sldMkLst>
      </pc:sldChg>
      <pc:sldChg chg="addSp delSp modSp new mod modClrScheme chgLayout">
        <pc:chgData name="Alex Cernik" userId="1cd5a177061dda4b" providerId="LiveId" clId="{B510913F-0CEB-44BF-87F0-347BF3ABCD67}" dt="2024-06-06T16:19:42.742" v="643" actId="26606"/>
        <pc:sldMkLst>
          <pc:docMk/>
          <pc:sldMk cId="77387104" sldId="2147477500"/>
        </pc:sldMkLst>
        <pc:spChg chg="mod">
          <ac:chgData name="Alex Cernik" userId="1cd5a177061dda4b" providerId="LiveId" clId="{B510913F-0CEB-44BF-87F0-347BF3ABCD67}" dt="2024-06-06T16:19:42.742" v="643" actId="26606"/>
          <ac:spMkLst>
            <pc:docMk/>
            <pc:sldMk cId="77387104" sldId="2147477500"/>
            <ac:spMk id="2" creationId="{4AFDD0FE-C43D-0152-173E-1F6171C606D5}"/>
          </ac:spMkLst>
        </pc:spChg>
        <pc:spChg chg="del mod">
          <ac:chgData name="Alex Cernik" userId="1cd5a177061dda4b" providerId="LiveId" clId="{B510913F-0CEB-44BF-87F0-347BF3ABCD67}" dt="2024-06-06T16:18:20.123" v="591" actId="478"/>
          <ac:spMkLst>
            <pc:docMk/>
            <pc:sldMk cId="77387104" sldId="2147477500"/>
            <ac:spMk id="3" creationId="{F5CDA4FC-010A-ABE3-00E6-7385D298B59C}"/>
          </ac:spMkLst>
        </pc:spChg>
        <pc:spChg chg="mod ord">
          <ac:chgData name="Alex Cernik" userId="1cd5a177061dda4b" providerId="LiveId" clId="{B510913F-0CEB-44BF-87F0-347BF3ABCD67}" dt="2024-06-06T16:19:42.742" v="643" actId="26606"/>
          <ac:spMkLst>
            <pc:docMk/>
            <pc:sldMk cId="77387104" sldId="2147477500"/>
            <ac:spMk id="4" creationId="{C298B494-7D1B-0F22-C779-134D8F7B08AE}"/>
          </ac:spMkLst>
        </pc:spChg>
        <pc:spChg chg="add del mod">
          <ac:chgData name="Alex Cernik" userId="1cd5a177061dda4b" providerId="LiveId" clId="{B510913F-0CEB-44BF-87F0-347BF3ABCD67}" dt="2024-06-06T16:18:31.788" v="593" actId="478"/>
          <ac:spMkLst>
            <pc:docMk/>
            <pc:sldMk cId="77387104" sldId="2147477500"/>
            <ac:spMk id="6" creationId="{0BBB0CD5-59AE-9945-B5F3-A1181BB86FE1}"/>
          </ac:spMkLst>
        </pc:spChg>
        <pc:picChg chg="add mod">
          <ac:chgData name="Alex Cernik" userId="1cd5a177061dda4b" providerId="LiveId" clId="{B510913F-0CEB-44BF-87F0-347BF3ABCD67}" dt="2024-06-06T16:19:42.742" v="643" actId="26606"/>
          <ac:picMkLst>
            <pc:docMk/>
            <pc:sldMk cId="77387104" sldId="2147477500"/>
            <ac:picMk id="1026" creationId="{494FC09C-0EFE-D577-8235-1407E1DB3B5A}"/>
          </ac:picMkLst>
        </pc:picChg>
      </pc:sldChg>
      <pc:sldChg chg="addSp modSp new del mod">
        <pc:chgData name="Alex Cernik" userId="1cd5a177061dda4b" providerId="LiveId" clId="{B510913F-0CEB-44BF-87F0-347BF3ABCD67}" dt="2024-06-04T20:09:51.404" v="387" actId="47"/>
        <pc:sldMkLst>
          <pc:docMk/>
          <pc:sldMk cId="660257803" sldId="2147477500"/>
        </pc:sldMkLst>
        <pc:spChg chg="mod">
          <ac:chgData name="Alex Cernik" userId="1cd5a177061dda4b" providerId="LiveId" clId="{B510913F-0CEB-44BF-87F0-347BF3ABCD67}" dt="2024-06-04T19:58:04.068" v="302" actId="20577"/>
          <ac:spMkLst>
            <pc:docMk/>
            <pc:sldMk cId="660257803" sldId="2147477500"/>
            <ac:spMk id="2" creationId="{AE07FF03-49AA-2726-7361-EA4C330AA2CA}"/>
          </ac:spMkLst>
        </pc:spChg>
        <pc:picChg chg="add">
          <ac:chgData name="Alex Cernik" userId="1cd5a177061dda4b" providerId="LiveId" clId="{B510913F-0CEB-44BF-87F0-347BF3ABCD67}" dt="2024-06-04T20:07:58.985" v="316"/>
          <ac:picMkLst>
            <pc:docMk/>
            <pc:sldMk cId="660257803" sldId="2147477500"/>
            <ac:picMk id="4" creationId="{6DD6C8A6-B0B4-ECE6-B54B-DBD85111ACAD}"/>
          </ac:picMkLst>
        </pc:picChg>
      </pc:sldChg>
      <pc:sldChg chg="addSp delSp modSp new mod setBg">
        <pc:chgData name="Alex Cernik" userId="1cd5a177061dda4b" providerId="LiveId" clId="{B510913F-0CEB-44BF-87F0-347BF3ABCD67}" dt="2024-06-05T17:15:42.475" v="512" actId="26606"/>
        <pc:sldMkLst>
          <pc:docMk/>
          <pc:sldMk cId="1238064242" sldId="2147477501"/>
        </pc:sldMkLst>
        <pc:spChg chg="del">
          <ac:chgData name="Alex Cernik" userId="1cd5a177061dda4b" providerId="LiveId" clId="{B510913F-0CEB-44BF-87F0-347BF3ABCD67}" dt="2024-06-05T17:15:42.475" v="512" actId="26606"/>
          <ac:spMkLst>
            <pc:docMk/>
            <pc:sldMk cId="1238064242" sldId="2147477501"/>
            <ac:spMk id="2" creationId="{D9094AD6-01CF-8D6B-C029-E2C61686CC10}"/>
          </ac:spMkLst>
        </pc:spChg>
        <pc:spChg chg="del">
          <ac:chgData name="Alex Cernik" userId="1cd5a177061dda4b" providerId="LiveId" clId="{B510913F-0CEB-44BF-87F0-347BF3ABCD67}" dt="2024-06-05T17:15:42.475" v="512" actId="26606"/>
          <ac:spMkLst>
            <pc:docMk/>
            <pc:sldMk cId="1238064242" sldId="2147477501"/>
            <ac:spMk id="3" creationId="{D1CC5FA5-3F25-D9C9-394A-B63C29A27744}"/>
          </ac:spMkLst>
        </pc:spChg>
        <pc:spChg chg="mod ord">
          <ac:chgData name="Alex Cernik" userId="1cd5a177061dda4b" providerId="LiveId" clId="{B510913F-0CEB-44BF-87F0-347BF3ABCD67}" dt="2024-06-05T17:15:42.475" v="512" actId="26606"/>
          <ac:spMkLst>
            <pc:docMk/>
            <pc:sldMk cId="1238064242" sldId="2147477501"/>
            <ac:spMk id="4" creationId="{1B379EFD-A665-F20D-CCC7-CCB00DE275CD}"/>
          </ac:spMkLst>
        </pc:spChg>
        <pc:spChg chg="add">
          <ac:chgData name="Alex Cernik" userId="1cd5a177061dda4b" providerId="LiveId" clId="{B510913F-0CEB-44BF-87F0-347BF3ABCD67}" dt="2024-06-05T17:15:42.475" v="512" actId="26606"/>
          <ac:spMkLst>
            <pc:docMk/>
            <pc:sldMk cId="1238064242" sldId="2147477501"/>
            <ac:spMk id="11" creationId="{42A4FC2C-047E-45A5-965D-8E1E3BF09BC6}"/>
          </ac:spMkLst>
        </pc:spChg>
        <pc:picChg chg="add mod">
          <ac:chgData name="Alex Cernik" userId="1cd5a177061dda4b" providerId="LiveId" clId="{B510913F-0CEB-44BF-87F0-347BF3ABCD67}" dt="2024-06-05T17:15:42.475" v="512" actId="26606"/>
          <ac:picMkLst>
            <pc:docMk/>
            <pc:sldMk cId="1238064242" sldId="2147477501"/>
            <ac:picMk id="6" creationId="{2191EA59-0159-0364-8774-D6A17D21D501}"/>
          </ac:picMkLst>
        </pc:picChg>
      </pc:sldChg>
      <pc:sldMasterChg chg="delSldLayout">
        <pc:chgData name="Alex Cernik" userId="1cd5a177061dda4b" providerId="LiveId" clId="{B510913F-0CEB-44BF-87F0-347BF3ABCD67}" dt="2024-06-03T20:57:49.178" v="159"/>
        <pc:sldMasterMkLst>
          <pc:docMk/>
          <pc:sldMasterMk cId="3316216720" sldId="2147483683"/>
        </pc:sldMasterMkLst>
        <pc:sldLayoutChg chg="del">
          <pc:chgData name="Alex Cernik" userId="1cd5a177061dda4b" providerId="LiveId" clId="{B510913F-0CEB-44BF-87F0-347BF3ABCD67}" dt="2024-06-03T20:57:49.041" v="17"/>
          <pc:sldLayoutMkLst>
            <pc:docMk/>
            <pc:sldMasterMk cId="3316216720" sldId="2147483683"/>
            <pc:sldLayoutMk cId="990615790" sldId="2147483743"/>
          </pc:sldLayoutMkLst>
        </pc:sldLayoutChg>
        <pc:sldLayoutChg chg="del">
          <pc:chgData name="Alex Cernik" userId="1cd5a177061dda4b" providerId="LiveId" clId="{B510913F-0CEB-44BF-87F0-347BF3ABCD67}" dt="2024-06-03T20:57:49.051" v="18"/>
          <pc:sldLayoutMkLst>
            <pc:docMk/>
            <pc:sldMasterMk cId="3316216720" sldId="2147483683"/>
            <pc:sldLayoutMk cId="1796882432" sldId="2147483744"/>
          </pc:sldLayoutMkLst>
        </pc:sldLayoutChg>
        <pc:sldLayoutChg chg="del">
          <pc:chgData name="Alex Cernik" userId="1cd5a177061dda4b" providerId="LiveId" clId="{B510913F-0CEB-44BF-87F0-347BF3ABCD67}" dt="2024-06-03T20:57:49.052" v="19"/>
          <pc:sldLayoutMkLst>
            <pc:docMk/>
            <pc:sldMasterMk cId="3316216720" sldId="2147483683"/>
            <pc:sldLayoutMk cId="1256174172" sldId="2147483745"/>
          </pc:sldLayoutMkLst>
        </pc:sldLayoutChg>
        <pc:sldLayoutChg chg="del">
          <pc:chgData name="Alex Cernik" userId="1cd5a177061dda4b" providerId="LiveId" clId="{B510913F-0CEB-44BF-87F0-347BF3ABCD67}" dt="2024-06-03T20:57:49.053" v="20"/>
          <pc:sldLayoutMkLst>
            <pc:docMk/>
            <pc:sldMasterMk cId="3316216720" sldId="2147483683"/>
            <pc:sldLayoutMk cId="1303356874" sldId="2147483746"/>
          </pc:sldLayoutMkLst>
        </pc:sldLayoutChg>
        <pc:sldLayoutChg chg="del">
          <pc:chgData name="Alex Cernik" userId="1cd5a177061dda4b" providerId="LiveId" clId="{B510913F-0CEB-44BF-87F0-347BF3ABCD67}" dt="2024-06-03T20:57:49.055" v="21"/>
          <pc:sldLayoutMkLst>
            <pc:docMk/>
            <pc:sldMasterMk cId="3316216720" sldId="2147483683"/>
            <pc:sldLayoutMk cId="3254104622" sldId="2147483747"/>
          </pc:sldLayoutMkLst>
        </pc:sldLayoutChg>
        <pc:sldLayoutChg chg="del">
          <pc:chgData name="Alex Cernik" userId="1cd5a177061dda4b" providerId="LiveId" clId="{B510913F-0CEB-44BF-87F0-347BF3ABCD67}" dt="2024-06-03T20:57:49.056" v="22"/>
          <pc:sldLayoutMkLst>
            <pc:docMk/>
            <pc:sldMasterMk cId="3316216720" sldId="2147483683"/>
            <pc:sldLayoutMk cId="2342918607" sldId="2147483748"/>
          </pc:sldLayoutMkLst>
        </pc:sldLayoutChg>
        <pc:sldLayoutChg chg="del">
          <pc:chgData name="Alex Cernik" userId="1cd5a177061dda4b" providerId="LiveId" clId="{B510913F-0CEB-44BF-87F0-347BF3ABCD67}" dt="2024-06-03T20:57:49.057" v="23"/>
          <pc:sldLayoutMkLst>
            <pc:docMk/>
            <pc:sldMasterMk cId="3316216720" sldId="2147483683"/>
            <pc:sldLayoutMk cId="2302448950" sldId="2147483749"/>
          </pc:sldLayoutMkLst>
        </pc:sldLayoutChg>
        <pc:sldLayoutChg chg="del">
          <pc:chgData name="Alex Cernik" userId="1cd5a177061dda4b" providerId="LiveId" clId="{B510913F-0CEB-44BF-87F0-347BF3ABCD67}" dt="2024-06-03T20:57:49.058" v="24"/>
          <pc:sldLayoutMkLst>
            <pc:docMk/>
            <pc:sldMasterMk cId="3316216720" sldId="2147483683"/>
            <pc:sldLayoutMk cId="1306277758" sldId="2147483750"/>
          </pc:sldLayoutMkLst>
        </pc:sldLayoutChg>
        <pc:sldLayoutChg chg="del">
          <pc:chgData name="Alex Cernik" userId="1cd5a177061dda4b" providerId="LiveId" clId="{B510913F-0CEB-44BF-87F0-347BF3ABCD67}" dt="2024-06-03T20:57:49.059" v="25"/>
          <pc:sldLayoutMkLst>
            <pc:docMk/>
            <pc:sldMasterMk cId="3316216720" sldId="2147483683"/>
            <pc:sldLayoutMk cId="4248709049" sldId="2147483751"/>
          </pc:sldLayoutMkLst>
        </pc:sldLayoutChg>
        <pc:sldLayoutChg chg="del">
          <pc:chgData name="Alex Cernik" userId="1cd5a177061dda4b" providerId="LiveId" clId="{B510913F-0CEB-44BF-87F0-347BF3ABCD67}" dt="2024-06-03T20:57:49.060" v="26"/>
          <pc:sldLayoutMkLst>
            <pc:docMk/>
            <pc:sldMasterMk cId="3316216720" sldId="2147483683"/>
            <pc:sldLayoutMk cId="4148328522" sldId="2147483752"/>
          </pc:sldLayoutMkLst>
        </pc:sldLayoutChg>
        <pc:sldLayoutChg chg="del">
          <pc:chgData name="Alex Cernik" userId="1cd5a177061dda4b" providerId="LiveId" clId="{B510913F-0CEB-44BF-87F0-347BF3ABCD67}" dt="2024-06-03T20:57:49.061" v="27"/>
          <pc:sldLayoutMkLst>
            <pc:docMk/>
            <pc:sldMasterMk cId="3316216720" sldId="2147483683"/>
            <pc:sldLayoutMk cId="1882789755" sldId="2147483753"/>
          </pc:sldLayoutMkLst>
        </pc:sldLayoutChg>
        <pc:sldLayoutChg chg="del">
          <pc:chgData name="Alex Cernik" userId="1cd5a177061dda4b" providerId="LiveId" clId="{B510913F-0CEB-44BF-87F0-347BF3ABCD67}" dt="2024-06-03T20:57:49.062" v="28"/>
          <pc:sldLayoutMkLst>
            <pc:docMk/>
            <pc:sldMasterMk cId="3316216720" sldId="2147483683"/>
            <pc:sldLayoutMk cId="2968072764" sldId="2147483754"/>
          </pc:sldLayoutMkLst>
        </pc:sldLayoutChg>
        <pc:sldLayoutChg chg="del">
          <pc:chgData name="Alex Cernik" userId="1cd5a177061dda4b" providerId="LiveId" clId="{B510913F-0CEB-44BF-87F0-347BF3ABCD67}" dt="2024-06-03T20:57:49.063" v="29"/>
          <pc:sldLayoutMkLst>
            <pc:docMk/>
            <pc:sldMasterMk cId="3316216720" sldId="2147483683"/>
            <pc:sldLayoutMk cId="821480742" sldId="2147483755"/>
          </pc:sldLayoutMkLst>
        </pc:sldLayoutChg>
        <pc:sldLayoutChg chg="del">
          <pc:chgData name="Alex Cernik" userId="1cd5a177061dda4b" providerId="LiveId" clId="{B510913F-0CEB-44BF-87F0-347BF3ABCD67}" dt="2024-06-03T20:57:49.064" v="30"/>
          <pc:sldLayoutMkLst>
            <pc:docMk/>
            <pc:sldMasterMk cId="3316216720" sldId="2147483683"/>
            <pc:sldLayoutMk cId="1658708352" sldId="2147483756"/>
          </pc:sldLayoutMkLst>
        </pc:sldLayoutChg>
        <pc:sldLayoutChg chg="del">
          <pc:chgData name="Alex Cernik" userId="1cd5a177061dda4b" providerId="LiveId" clId="{B510913F-0CEB-44BF-87F0-347BF3ABCD67}" dt="2024-06-03T20:57:49.065" v="31"/>
          <pc:sldLayoutMkLst>
            <pc:docMk/>
            <pc:sldMasterMk cId="3316216720" sldId="2147483683"/>
            <pc:sldLayoutMk cId="1766352661" sldId="2147483757"/>
          </pc:sldLayoutMkLst>
        </pc:sldLayoutChg>
        <pc:sldLayoutChg chg="del">
          <pc:chgData name="Alex Cernik" userId="1cd5a177061dda4b" providerId="LiveId" clId="{B510913F-0CEB-44BF-87F0-347BF3ABCD67}" dt="2024-06-03T20:57:49.066" v="32"/>
          <pc:sldLayoutMkLst>
            <pc:docMk/>
            <pc:sldMasterMk cId="3316216720" sldId="2147483683"/>
            <pc:sldLayoutMk cId="1975490643" sldId="2147483758"/>
          </pc:sldLayoutMkLst>
        </pc:sldLayoutChg>
        <pc:sldLayoutChg chg="del">
          <pc:chgData name="Alex Cernik" userId="1cd5a177061dda4b" providerId="LiveId" clId="{B510913F-0CEB-44BF-87F0-347BF3ABCD67}" dt="2024-06-03T20:57:49.067" v="33"/>
          <pc:sldLayoutMkLst>
            <pc:docMk/>
            <pc:sldMasterMk cId="3316216720" sldId="2147483683"/>
            <pc:sldLayoutMk cId="2029995243" sldId="2147483759"/>
          </pc:sldLayoutMkLst>
        </pc:sldLayoutChg>
        <pc:sldLayoutChg chg="del">
          <pc:chgData name="Alex Cernik" userId="1cd5a177061dda4b" providerId="LiveId" clId="{B510913F-0CEB-44BF-87F0-347BF3ABCD67}" dt="2024-06-03T20:57:49.068" v="34"/>
          <pc:sldLayoutMkLst>
            <pc:docMk/>
            <pc:sldMasterMk cId="3316216720" sldId="2147483683"/>
            <pc:sldLayoutMk cId="2305213613" sldId="2147483760"/>
          </pc:sldLayoutMkLst>
        </pc:sldLayoutChg>
        <pc:sldLayoutChg chg="del">
          <pc:chgData name="Alex Cernik" userId="1cd5a177061dda4b" providerId="LiveId" clId="{B510913F-0CEB-44BF-87F0-347BF3ABCD67}" dt="2024-06-03T20:57:49.069" v="35"/>
          <pc:sldLayoutMkLst>
            <pc:docMk/>
            <pc:sldMasterMk cId="3316216720" sldId="2147483683"/>
            <pc:sldLayoutMk cId="3799566299" sldId="2147483761"/>
          </pc:sldLayoutMkLst>
        </pc:sldLayoutChg>
        <pc:sldLayoutChg chg="del">
          <pc:chgData name="Alex Cernik" userId="1cd5a177061dda4b" providerId="LiveId" clId="{B510913F-0CEB-44BF-87F0-347BF3ABCD67}" dt="2024-06-03T20:57:49.070" v="36"/>
          <pc:sldLayoutMkLst>
            <pc:docMk/>
            <pc:sldMasterMk cId="3316216720" sldId="2147483683"/>
            <pc:sldLayoutMk cId="1899074022" sldId="2147483762"/>
          </pc:sldLayoutMkLst>
        </pc:sldLayoutChg>
        <pc:sldLayoutChg chg="del">
          <pc:chgData name="Alex Cernik" userId="1cd5a177061dda4b" providerId="LiveId" clId="{B510913F-0CEB-44BF-87F0-347BF3ABCD67}" dt="2024-06-03T20:57:49.071" v="37"/>
          <pc:sldLayoutMkLst>
            <pc:docMk/>
            <pc:sldMasterMk cId="3316216720" sldId="2147483683"/>
            <pc:sldLayoutMk cId="2345278731" sldId="2147483763"/>
          </pc:sldLayoutMkLst>
        </pc:sldLayoutChg>
        <pc:sldLayoutChg chg="del">
          <pc:chgData name="Alex Cernik" userId="1cd5a177061dda4b" providerId="LiveId" clId="{B510913F-0CEB-44BF-87F0-347BF3ABCD67}" dt="2024-06-03T20:57:49.072" v="38"/>
          <pc:sldLayoutMkLst>
            <pc:docMk/>
            <pc:sldMasterMk cId="3316216720" sldId="2147483683"/>
            <pc:sldLayoutMk cId="1182850335" sldId="2147483764"/>
          </pc:sldLayoutMkLst>
        </pc:sldLayoutChg>
        <pc:sldLayoutChg chg="del">
          <pc:chgData name="Alex Cernik" userId="1cd5a177061dda4b" providerId="LiveId" clId="{B510913F-0CEB-44BF-87F0-347BF3ABCD67}" dt="2024-06-03T20:57:49.073" v="39"/>
          <pc:sldLayoutMkLst>
            <pc:docMk/>
            <pc:sldMasterMk cId="3316216720" sldId="2147483683"/>
            <pc:sldLayoutMk cId="3417016236" sldId="2147483765"/>
          </pc:sldLayoutMkLst>
        </pc:sldLayoutChg>
        <pc:sldLayoutChg chg="del">
          <pc:chgData name="Alex Cernik" userId="1cd5a177061dda4b" providerId="LiveId" clId="{B510913F-0CEB-44BF-87F0-347BF3ABCD67}" dt="2024-06-03T20:57:49.074" v="40"/>
          <pc:sldLayoutMkLst>
            <pc:docMk/>
            <pc:sldMasterMk cId="3316216720" sldId="2147483683"/>
            <pc:sldLayoutMk cId="2058980657" sldId="2147483766"/>
          </pc:sldLayoutMkLst>
        </pc:sldLayoutChg>
        <pc:sldLayoutChg chg="del">
          <pc:chgData name="Alex Cernik" userId="1cd5a177061dda4b" providerId="LiveId" clId="{B510913F-0CEB-44BF-87F0-347BF3ABCD67}" dt="2024-06-03T20:57:49.075" v="41"/>
          <pc:sldLayoutMkLst>
            <pc:docMk/>
            <pc:sldMasterMk cId="3316216720" sldId="2147483683"/>
            <pc:sldLayoutMk cId="38319705" sldId="2147483767"/>
          </pc:sldLayoutMkLst>
        </pc:sldLayoutChg>
        <pc:sldLayoutChg chg="del">
          <pc:chgData name="Alex Cernik" userId="1cd5a177061dda4b" providerId="LiveId" clId="{B510913F-0CEB-44BF-87F0-347BF3ABCD67}" dt="2024-06-03T20:57:49.077" v="42"/>
          <pc:sldLayoutMkLst>
            <pc:docMk/>
            <pc:sldMasterMk cId="3316216720" sldId="2147483683"/>
            <pc:sldLayoutMk cId="3291012234" sldId="2147483768"/>
          </pc:sldLayoutMkLst>
        </pc:sldLayoutChg>
        <pc:sldLayoutChg chg="del">
          <pc:chgData name="Alex Cernik" userId="1cd5a177061dda4b" providerId="LiveId" clId="{B510913F-0CEB-44BF-87F0-347BF3ABCD67}" dt="2024-06-03T20:57:49.078" v="43"/>
          <pc:sldLayoutMkLst>
            <pc:docMk/>
            <pc:sldMasterMk cId="3316216720" sldId="2147483683"/>
            <pc:sldLayoutMk cId="1484628783" sldId="2147483769"/>
          </pc:sldLayoutMkLst>
        </pc:sldLayoutChg>
        <pc:sldLayoutChg chg="del">
          <pc:chgData name="Alex Cernik" userId="1cd5a177061dda4b" providerId="LiveId" clId="{B510913F-0CEB-44BF-87F0-347BF3ABCD67}" dt="2024-06-03T20:57:49.079" v="44"/>
          <pc:sldLayoutMkLst>
            <pc:docMk/>
            <pc:sldMasterMk cId="3316216720" sldId="2147483683"/>
            <pc:sldLayoutMk cId="2185555474" sldId="2147483771"/>
          </pc:sldLayoutMkLst>
        </pc:sldLayoutChg>
        <pc:sldLayoutChg chg="del">
          <pc:chgData name="Alex Cernik" userId="1cd5a177061dda4b" providerId="LiveId" clId="{B510913F-0CEB-44BF-87F0-347BF3ABCD67}" dt="2024-06-03T20:57:49.080" v="45"/>
          <pc:sldLayoutMkLst>
            <pc:docMk/>
            <pc:sldMasterMk cId="3316216720" sldId="2147483683"/>
            <pc:sldLayoutMk cId="2738728202" sldId="2147483772"/>
          </pc:sldLayoutMkLst>
        </pc:sldLayoutChg>
        <pc:sldLayoutChg chg="del">
          <pc:chgData name="Alex Cernik" userId="1cd5a177061dda4b" providerId="LiveId" clId="{B510913F-0CEB-44BF-87F0-347BF3ABCD67}" dt="2024-06-03T20:57:49.081" v="46"/>
          <pc:sldLayoutMkLst>
            <pc:docMk/>
            <pc:sldMasterMk cId="3316216720" sldId="2147483683"/>
            <pc:sldLayoutMk cId="2903072282" sldId="2147483773"/>
          </pc:sldLayoutMkLst>
        </pc:sldLayoutChg>
        <pc:sldLayoutChg chg="del">
          <pc:chgData name="Alex Cernik" userId="1cd5a177061dda4b" providerId="LiveId" clId="{B510913F-0CEB-44BF-87F0-347BF3ABCD67}" dt="2024-06-03T20:57:49.081" v="47"/>
          <pc:sldLayoutMkLst>
            <pc:docMk/>
            <pc:sldMasterMk cId="3316216720" sldId="2147483683"/>
            <pc:sldLayoutMk cId="2073041928" sldId="2147483774"/>
          </pc:sldLayoutMkLst>
        </pc:sldLayoutChg>
        <pc:sldLayoutChg chg="del">
          <pc:chgData name="Alex Cernik" userId="1cd5a177061dda4b" providerId="LiveId" clId="{B510913F-0CEB-44BF-87F0-347BF3ABCD67}" dt="2024-06-03T20:57:49.082" v="48"/>
          <pc:sldLayoutMkLst>
            <pc:docMk/>
            <pc:sldMasterMk cId="3316216720" sldId="2147483683"/>
            <pc:sldLayoutMk cId="1196234546" sldId="2147483775"/>
          </pc:sldLayoutMkLst>
        </pc:sldLayoutChg>
        <pc:sldLayoutChg chg="del">
          <pc:chgData name="Alex Cernik" userId="1cd5a177061dda4b" providerId="LiveId" clId="{B510913F-0CEB-44BF-87F0-347BF3ABCD67}" dt="2024-06-03T20:57:49.083" v="49"/>
          <pc:sldLayoutMkLst>
            <pc:docMk/>
            <pc:sldMasterMk cId="3316216720" sldId="2147483683"/>
            <pc:sldLayoutMk cId="882332574" sldId="2147483776"/>
          </pc:sldLayoutMkLst>
        </pc:sldLayoutChg>
        <pc:sldLayoutChg chg="del">
          <pc:chgData name="Alex Cernik" userId="1cd5a177061dda4b" providerId="LiveId" clId="{B510913F-0CEB-44BF-87F0-347BF3ABCD67}" dt="2024-06-03T20:57:49.084" v="50"/>
          <pc:sldLayoutMkLst>
            <pc:docMk/>
            <pc:sldMasterMk cId="3316216720" sldId="2147483683"/>
            <pc:sldLayoutMk cId="3661302584" sldId="2147483777"/>
          </pc:sldLayoutMkLst>
        </pc:sldLayoutChg>
        <pc:sldLayoutChg chg="del">
          <pc:chgData name="Alex Cernik" userId="1cd5a177061dda4b" providerId="LiveId" clId="{B510913F-0CEB-44BF-87F0-347BF3ABCD67}" dt="2024-06-03T20:57:49.085" v="51"/>
          <pc:sldLayoutMkLst>
            <pc:docMk/>
            <pc:sldMasterMk cId="3316216720" sldId="2147483683"/>
            <pc:sldLayoutMk cId="1663568233" sldId="2147483778"/>
          </pc:sldLayoutMkLst>
        </pc:sldLayoutChg>
        <pc:sldLayoutChg chg="del">
          <pc:chgData name="Alex Cernik" userId="1cd5a177061dda4b" providerId="LiveId" clId="{B510913F-0CEB-44BF-87F0-347BF3ABCD67}" dt="2024-06-03T20:57:49.086" v="52"/>
          <pc:sldLayoutMkLst>
            <pc:docMk/>
            <pc:sldMasterMk cId="3316216720" sldId="2147483683"/>
            <pc:sldLayoutMk cId="935213726" sldId="2147483779"/>
          </pc:sldLayoutMkLst>
        </pc:sldLayoutChg>
        <pc:sldLayoutChg chg="del">
          <pc:chgData name="Alex Cernik" userId="1cd5a177061dda4b" providerId="LiveId" clId="{B510913F-0CEB-44BF-87F0-347BF3ABCD67}" dt="2024-06-03T20:57:49.087" v="53"/>
          <pc:sldLayoutMkLst>
            <pc:docMk/>
            <pc:sldMasterMk cId="3316216720" sldId="2147483683"/>
            <pc:sldLayoutMk cId="3347333278" sldId="2147483780"/>
          </pc:sldLayoutMkLst>
        </pc:sldLayoutChg>
        <pc:sldLayoutChg chg="del">
          <pc:chgData name="Alex Cernik" userId="1cd5a177061dda4b" providerId="LiveId" clId="{B510913F-0CEB-44BF-87F0-347BF3ABCD67}" dt="2024-06-03T20:57:49.088" v="54"/>
          <pc:sldLayoutMkLst>
            <pc:docMk/>
            <pc:sldMasterMk cId="3316216720" sldId="2147483683"/>
            <pc:sldLayoutMk cId="38448556" sldId="2147483781"/>
          </pc:sldLayoutMkLst>
        </pc:sldLayoutChg>
        <pc:sldLayoutChg chg="del">
          <pc:chgData name="Alex Cernik" userId="1cd5a177061dda4b" providerId="LiveId" clId="{B510913F-0CEB-44BF-87F0-347BF3ABCD67}" dt="2024-06-03T20:57:49.090" v="55"/>
          <pc:sldLayoutMkLst>
            <pc:docMk/>
            <pc:sldMasterMk cId="3316216720" sldId="2147483683"/>
            <pc:sldLayoutMk cId="3960252241" sldId="2147483782"/>
          </pc:sldLayoutMkLst>
        </pc:sldLayoutChg>
        <pc:sldLayoutChg chg="del">
          <pc:chgData name="Alex Cernik" userId="1cd5a177061dda4b" providerId="LiveId" clId="{B510913F-0CEB-44BF-87F0-347BF3ABCD67}" dt="2024-06-03T20:57:49.091" v="56"/>
          <pc:sldLayoutMkLst>
            <pc:docMk/>
            <pc:sldMasterMk cId="3316216720" sldId="2147483683"/>
            <pc:sldLayoutMk cId="3137046376" sldId="2147483783"/>
          </pc:sldLayoutMkLst>
        </pc:sldLayoutChg>
        <pc:sldLayoutChg chg="del">
          <pc:chgData name="Alex Cernik" userId="1cd5a177061dda4b" providerId="LiveId" clId="{B510913F-0CEB-44BF-87F0-347BF3ABCD67}" dt="2024-06-03T20:57:49.092" v="57"/>
          <pc:sldLayoutMkLst>
            <pc:docMk/>
            <pc:sldMasterMk cId="3316216720" sldId="2147483683"/>
            <pc:sldLayoutMk cId="3870950505" sldId="2147483784"/>
          </pc:sldLayoutMkLst>
        </pc:sldLayoutChg>
        <pc:sldLayoutChg chg="del">
          <pc:chgData name="Alex Cernik" userId="1cd5a177061dda4b" providerId="LiveId" clId="{B510913F-0CEB-44BF-87F0-347BF3ABCD67}" dt="2024-06-03T20:57:49.093" v="58"/>
          <pc:sldLayoutMkLst>
            <pc:docMk/>
            <pc:sldMasterMk cId="3316216720" sldId="2147483683"/>
            <pc:sldLayoutMk cId="3657605210" sldId="2147483785"/>
          </pc:sldLayoutMkLst>
        </pc:sldLayoutChg>
        <pc:sldLayoutChg chg="del">
          <pc:chgData name="Alex Cernik" userId="1cd5a177061dda4b" providerId="LiveId" clId="{B510913F-0CEB-44BF-87F0-347BF3ABCD67}" dt="2024-06-03T20:57:49.094" v="59"/>
          <pc:sldLayoutMkLst>
            <pc:docMk/>
            <pc:sldMasterMk cId="3316216720" sldId="2147483683"/>
            <pc:sldLayoutMk cId="3998287702" sldId="2147483786"/>
          </pc:sldLayoutMkLst>
        </pc:sldLayoutChg>
        <pc:sldLayoutChg chg="del">
          <pc:chgData name="Alex Cernik" userId="1cd5a177061dda4b" providerId="LiveId" clId="{B510913F-0CEB-44BF-87F0-347BF3ABCD67}" dt="2024-06-03T20:57:49.095" v="60"/>
          <pc:sldLayoutMkLst>
            <pc:docMk/>
            <pc:sldMasterMk cId="3316216720" sldId="2147483683"/>
            <pc:sldLayoutMk cId="1547213129" sldId="2147483791"/>
          </pc:sldLayoutMkLst>
        </pc:sldLayoutChg>
        <pc:sldLayoutChg chg="del">
          <pc:chgData name="Alex Cernik" userId="1cd5a177061dda4b" providerId="LiveId" clId="{B510913F-0CEB-44BF-87F0-347BF3ABCD67}" dt="2024-06-03T20:57:49.096" v="61"/>
          <pc:sldLayoutMkLst>
            <pc:docMk/>
            <pc:sldMasterMk cId="3316216720" sldId="2147483683"/>
            <pc:sldLayoutMk cId="2396877056" sldId="2147483792"/>
          </pc:sldLayoutMkLst>
        </pc:sldLayoutChg>
        <pc:sldLayoutChg chg="del">
          <pc:chgData name="Alex Cernik" userId="1cd5a177061dda4b" providerId="LiveId" clId="{B510913F-0CEB-44BF-87F0-347BF3ABCD67}" dt="2024-06-03T20:57:49.096" v="62"/>
          <pc:sldLayoutMkLst>
            <pc:docMk/>
            <pc:sldMasterMk cId="3316216720" sldId="2147483683"/>
            <pc:sldLayoutMk cId="1099040164" sldId="2147483793"/>
          </pc:sldLayoutMkLst>
        </pc:sldLayoutChg>
        <pc:sldLayoutChg chg="del">
          <pc:chgData name="Alex Cernik" userId="1cd5a177061dda4b" providerId="LiveId" clId="{B510913F-0CEB-44BF-87F0-347BF3ABCD67}" dt="2024-06-03T20:57:49.097" v="63"/>
          <pc:sldLayoutMkLst>
            <pc:docMk/>
            <pc:sldMasterMk cId="3316216720" sldId="2147483683"/>
            <pc:sldLayoutMk cId="2429107558" sldId="2147483797"/>
          </pc:sldLayoutMkLst>
        </pc:sldLayoutChg>
        <pc:sldLayoutChg chg="del">
          <pc:chgData name="Alex Cernik" userId="1cd5a177061dda4b" providerId="LiveId" clId="{B510913F-0CEB-44BF-87F0-347BF3ABCD67}" dt="2024-06-03T20:57:49.098" v="64"/>
          <pc:sldLayoutMkLst>
            <pc:docMk/>
            <pc:sldMasterMk cId="3316216720" sldId="2147483683"/>
            <pc:sldLayoutMk cId="2936945502" sldId="2147483798"/>
          </pc:sldLayoutMkLst>
        </pc:sldLayoutChg>
        <pc:sldLayoutChg chg="del">
          <pc:chgData name="Alex Cernik" userId="1cd5a177061dda4b" providerId="LiveId" clId="{B510913F-0CEB-44BF-87F0-347BF3ABCD67}" dt="2024-06-03T20:57:49.100" v="65"/>
          <pc:sldLayoutMkLst>
            <pc:docMk/>
            <pc:sldMasterMk cId="3316216720" sldId="2147483683"/>
            <pc:sldLayoutMk cId="1656458012" sldId="2147483858"/>
          </pc:sldLayoutMkLst>
        </pc:sldLayoutChg>
        <pc:sldLayoutChg chg="del">
          <pc:chgData name="Alex Cernik" userId="1cd5a177061dda4b" providerId="LiveId" clId="{B510913F-0CEB-44BF-87F0-347BF3ABCD67}" dt="2024-06-03T20:57:49.101" v="66"/>
          <pc:sldLayoutMkLst>
            <pc:docMk/>
            <pc:sldMasterMk cId="3316216720" sldId="2147483683"/>
            <pc:sldLayoutMk cId="1076020984" sldId="2147483859"/>
          </pc:sldLayoutMkLst>
        </pc:sldLayoutChg>
        <pc:sldLayoutChg chg="del">
          <pc:chgData name="Alex Cernik" userId="1cd5a177061dda4b" providerId="LiveId" clId="{B510913F-0CEB-44BF-87F0-347BF3ABCD67}" dt="2024-06-03T20:57:49.102" v="67"/>
          <pc:sldLayoutMkLst>
            <pc:docMk/>
            <pc:sldMasterMk cId="3316216720" sldId="2147483683"/>
            <pc:sldLayoutMk cId="3093489523" sldId="2147483860"/>
          </pc:sldLayoutMkLst>
        </pc:sldLayoutChg>
        <pc:sldLayoutChg chg="del">
          <pc:chgData name="Alex Cernik" userId="1cd5a177061dda4b" providerId="LiveId" clId="{B510913F-0CEB-44BF-87F0-347BF3ABCD67}" dt="2024-06-03T20:57:49.103" v="68"/>
          <pc:sldLayoutMkLst>
            <pc:docMk/>
            <pc:sldMasterMk cId="3316216720" sldId="2147483683"/>
            <pc:sldLayoutMk cId="2082358423" sldId="2147483861"/>
          </pc:sldLayoutMkLst>
        </pc:sldLayoutChg>
        <pc:sldLayoutChg chg="del">
          <pc:chgData name="Alex Cernik" userId="1cd5a177061dda4b" providerId="LiveId" clId="{B510913F-0CEB-44BF-87F0-347BF3ABCD67}" dt="2024-06-03T20:57:49.103" v="69"/>
          <pc:sldLayoutMkLst>
            <pc:docMk/>
            <pc:sldMasterMk cId="3316216720" sldId="2147483683"/>
            <pc:sldLayoutMk cId="1448095852" sldId="2147483862"/>
          </pc:sldLayoutMkLst>
        </pc:sldLayoutChg>
        <pc:sldLayoutChg chg="del">
          <pc:chgData name="Alex Cernik" userId="1cd5a177061dda4b" providerId="LiveId" clId="{B510913F-0CEB-44BF-87F0-347BF3ABCD67}" dt="2024-06-03T20:57:49.104" v="70"/>
          <pc:sldLayoutMkLst>
            <pc:docMk/>
            <pc:sldMasterMk cId="3316216720" sldId="2147483683"/>
            <pc:sldLayoutMk cId="3985859895" sldId="2147483863"/>
          </pc:sldLayoutMkLst>
        </pc:sldLayoutChg>
        <pc:sldLayoutChg chg="del">
          <pc:chgData name="Alex Cernik" userId="1cd5a177061dda4b" providerId="LiveId" clId="{B510913F-0CEB-44BF-87F0-347BF3ABCD67}" dt="2024-06-03T20:57:49.105" v="71"/>
          <pc:sldLayoutMkLst>
            <pc:docMk/>
            <pc:sldMasterMk cId="3316216720" sldId="2147483683"/>
            <pc:sldLayoutMk cId="3953566691" sldId="2147483864"/>
          </pc:sldLayoutMkLst>
        </pc:sldLayoutChg>
        <pc:sldLayoutChg chg="del">
          <pc:chgData name="Alex Cernik" userId="1cd5a177061dda4b" providerId="LiveId" clId="{B510913F-0CEB-44BF-87F0-347BF3ABCD67}" dt="2024-06-03T20:57:49.107" v="72"/>
          <pc:sldLayoutMkLst>
            <pc:docMk/>
            <pc:sldMasterMk cId="3316216720" sldId="2147483683"/>
            <pc:sldLayoutMk cId="4055091384" sldId="2147483865"/>
          </pc:sldLayoutMkLst>
        </pc:sldLayoutChg>
        <pc:sldLayoutChg chg="del">
          <pc:chgData name="Alex Cernik" userId="1cd5a177061dda4b" providerId="LiveId" clId="{B510913F-0CEB-44BF-87F0-347BF3ABCD67}" dt="2024-06-03T20:57:49.107" v="73"/>
          <pc:sldLayoutMkLst>
            <pc:docMk/>
            <pc:sldMasterMk cId="3316216720" sldId="2147483683"/>
            <pc:sldLayoutMk cId="1299703683" sldId="2147483866"/>
          </pc:sldLayoutMkLst>
        </pc:sldLayoutChg>
        <pc:sldLayoutChg chg="del">
          <pc:chgData name="Alex Cernik" userId="1cd5a177061dda4b" providerId="LiveId" clId="{B510913F-0CEB-44BF-87F0-347BF3ABCD67}" dt="2024-06-03T20:57:49.108" v="74"/>
          <pc:sldLayoutMkLst>
            <pc:docMk/>
            <pc:sldMasterMk cId="3316216720" sldId="2147483683"/>
            <pc:sldLayoutMk cId="21175550" sldId="2147483867"/>
          </pc:sldLayoutMkLst>
        </pc:sldLayoutChg>
        <pc:sldLayoutChg chg="del">
          <pc:chgData name="Alex Cernik" userId="1cd5a177061dda4b" providerId="LiveId" clId="{B510913F-0CEB-44BF-87F0-347BF3ABCD67}" dt="2024-06-03T20:57:49.109" v="75"/>
          <pc:sldLayoutMkLst>
            <pc:docMk/>
            <pc:sldMasterMk cId="3316216720" sldId="2147483683"/>
            <pc:sldLayoutMk cId="911471043" sldId="2147483868"/>
          </pc:sldLayoutMkLst>
        </pc:sldLayoutChg>
        <pc:sldLayoutChg chg="del">
          <pc:chgData name="Alex Cernik" userId="1cd5a177061dda4b" providerId="LiveId" clId="{B510913F-0CEB-44BF-87F0-347BF3ABCD67}" dt="2024-06-03T20:57:49.110" v="76"/>
          <pc:sldLayoutMkLst>
            <pc:docMk/>
            <pc:sldMasterMk cId="3316216720" sldId="2147483683"/>
            <pc:sldLayoutMk cId="2229889533" sldId="2147483869"/>
          </pc:sldLayoutMkLst>
        </pc:sldLayoutChg>
        <pc:sldLayoutChg chg="del">
          <pc:chgData name="Alex Cernik" userId="1cd5a177061dda4b" providerId="LiveId" clId="{B510913F-0CEB-44BF-87F0-347BF3ABCD67}" dt="2024-06-03T20:57:49.111" v="77"/>
          <pc:sldLayoutMkLst>
            <pc:docMk/>
            <pc:sldMasterMk cId="3316216720" sldId="2147483683"/>
            <pc:sldLayoutMk cId="1844238570" sldId="2147483870"/>
          </pc:sldLayoutMkLst>
        </pc:sldLayoutChg>
        <pc:sldLayoutChg chg="del">
          <pc:chgData name="Alex Cernik" userId="1cd5a177061dda4b" providerId="LiveId" clId="{B510913F-0CEB-44BF-87F0-347BF3ABCD67}" dt="2024-06-03T20:57:49.112" v="78"/>
          <pc:sldLayoutMkLst>
            <pc:docMk/>
            <pc:sldMasterMk cId="3316216720" sldId="2147483683"/>
            <pc:sldLayoutMk cId="2290410429" sldId="2147483871"/>
          </pc:sldLayoutMkLst>
        </pc:sldLayoutChg>
        <pc:sldLayoutChg chg="del">
          <pc:chgData name="Alex Cernik" userId="1cd5a177061dda4b" providerId="LiveId" clId="{B510913F-0CEB-44BF-87F0-347BF3ABCD67}" dt="2024-06-03T20:57:49.113" v="79"/>
          <pc:sldLayoutMkLst>
            <pc:docMk/>
            <pc:sldMasterMk cId="3316216720" sldId="2147483683"/>
            <pc:sldLayoutMk cId="4256358904" sldId="2147483872"/>
          </pc:sldLayoutMkLst>
        </pc:sldLayoutChg>
        <pc:sldLayoutChg chg="del">
          <pc:chgData name="Alex Cernik" userId="1cd5a177061dda4b" providerId="LiveId" clId="{B510913F-0CEB-44BF-87F0-347BF3ABCD67}" dt="2024-06-03T20:57:49.114" v="80"/>
          <pc:sldLayoutMkLst>
            <pc:docMk/>
            <pc:sldMasterMk cId="3316216720" sldId="2147483683"/>
            <pc:sldLayoutMk cId="493403641" sldId="2147483873"/>
          </pc:sldLayoutMkLst>
        </pc:sldLayoutChg>
        <pc:sldLayoutChg chg="del">
          <pc:chgData name="Alex Cernik" userId="1cd5a177061dda4b" providerId="LiveId" clId="{B510913F-0CEB-44BF-87F0-347BF3ABCD67}" dt="2024-06-03T20:57:49.115" v="81"/>
          <pc:sldLayoutMkLst>
            <pc:docMk/>
            <pc:sldMasterMk cId="3316216720" sldId="2147483683"/>
            <pc:sldLayoutMk cId="3986322443" sldId="2147483874"/>
          </pc:sldLayoutMkLst>
        </pc:sldLayoutChg>
        <pc:sldLayoutChg chg="del">
          <pc:chgData name="Alex Cernik" userId="1cd5a177061dda4b" providerId="LiveId" clId="{B510913F-0CEB-44BF-87F0-347BF3ABCD67}" dt="2024-06-03T20:57:49.115" v="82"/>
          <pc:sldLayoutMkLst>
            <pc:docMk/>
            <pc:sldMasterMk cId="3316216720" sldId="2147483683"/>
            <pc:sldLayoutMk cId="174722209" sldId="2147483875"/>
          </pc:sldLayoutMkLst>
        </pc:sldLayoutChg>
        <pc:sldLayoutChg chg="del">
          <pc:chgData name="Alex Cernik" userId="1cd5a177061dda4b" providerId="LiveId" clId="{B510913F-0CEB-44BF-87F0-347BF3ABCD67}" dt="2024-06-03T20:57:49.116" v="83"/>
          <pc:sldLayoutMkLst>
            <pc:docMk/>
            <pc:sldMasterMk cId="3316216720" sldId="2147483683"/>
            <pc:sldLayoutMk cId="1095336801" sldId="2147483876"/>
          </pc:sldLayoutMkLst>
        </pc:sldLayoutChg>
        <pc:sldLayoutChg chg="del">
          <pc:chgData name="Alex Cernik" userId="1cd5a177061dda4b" providerId="LiveId" clId="{B510913F-0CEB-44BF-87F0-347BF3ABCD67}" dt="2024-06-03T20:57:49.117" v="84"/>
          <pc:sldLayoutMkLst>
            <pc:docMk/>
            <pc:sldMasterMk cId="3316216720" sldId="2147483683"/>
            <pc:sldLayoutMk cId="3117996557" sldId="2147483877"/>
          </pc:sldLayoutMkLst>
        </pc:sldLayoutChg>
        <pc:sldLayoutChg chg="del">
          <pc:chgData name="Alex Cernik" userId="1cd5a177061dda4b" providerId="LiveId" clId="{B510913F-0CEB-44BF-87F0-347BF3ABCD67}" dt="2024-06-03T20:57:49.118" v="85"/>
          <pc:sldLayoutMkLst>
            <pc:docMk/>
            <pc:sldMasterMk cId="3316216720" sldId="2147483683"/>
            <pc:sldLayoutMk cId="1167006059" sldId="2147483878"/>
          </pc:sldLayoutMkLst>
        </pc:sldLayoutChg>
        <pc:sldLayoutChg chg="del">
          <pc:chgData name="Alex Cernik" userId="1cd5a177061dda4b" providerId="LiveId" clId="{B510913F-0CEB-44BF-87F0-347BF3ABCD67}" dt="2024-06-03T20:57:49.119" v="86"/>
          <pc:sldLayoutMkLst>
            <pc:docMk/>
            <pc:sldMasterMk cId="3316216720" sldId="2147483683"/>
            <pc:sldLayoutMk cId="3441078816" sldId="2147483879"/>
          </pc:sldLayoutMkLst>
        </pc:sldLayoutChg>
        <pc:sldLayoutChg chg="del">
          <pc:chgData name="Alex Cernik" userId="1cd5a177061dda4b" providerId="LiveId" clId="{B510913F-0CEB-44BF-87F0-347BF3ABCD67}" dt="2024-06-03T20:57:49.120" v="87"/>
          <pc:sldLayoutMkLst>
            <pc:docMk/>
            <pc:sldMasterMk cId="3316216720" sldId="2147483683"/>
            <pc:sldLayoutMk cId="3251277378" sldId="2147483880"/>
          </pc:sldLayoutMkLst>
        </pc:sldLayoutChg>
        <pc:sldLayoutChg chg="del">
          <pc:chgData name="Alex Cernik" userId="1cd5a177061dda4b" providerId="LiveId" clId="{B510913F-0CEB-44BF-87F0-347BF3ABCD67}" dt="2024-06-03T20:57:49.121" v="88"/>
          <pc:sldLayoutMkLst>
            <pc:docMk/>
            <pc:sldMasterMk cId="3316216720" sldId="2147483683"/>
            <pc:sldLayoutMk cId="354618245" sldId="2147483881"/>
          </pc:sldLayoutMkLst>
        </pc:sldLayoutChg>
        <pc:sldLayoutChg chg="del">
          <pc:chgData name="Alex Cernik" userId="1cd5a177061dda4b" providerId="LiveId" clId="{B510913F-0CEB-44BF-87F0-347BF3ABCD67}" dt="2024-06-03T20:57:49.121" v="89"/>
          <pc:sldLayoutMkLst>
            <pc:docMk/>
            <pc:sldMasterMk cId="3316216720" sldId="2147483683"/>
            <pc:sldLayoutMk cId="2285966786" sldId="2147483882"/>
          </pc:sldLayoutMkLst>
        </pc:sldLayoutChg>
        <pc:sldLayoutChg chg="del">
          <pc:chgData name="Alex Cernik" userId="1cd5a177061dda4b" providerId="LiveId" clId="{B510913F-0CEB-44BF-87F0-347BF3ABCD67}" dt="2024-06-03T20:57:49.122" v="90"/>
          <pc:sldLayoutMkLst>
            <pc:docMk/>
            <pc:sldMasterMk cId="3316216720" sldId="2147483683"/>
            <pc:sldLayoutMk cId="2044393040" sldId="2147483883"/>
          </pc:sldLayoutMkLst>
        </pc:sldLayoutChg>
        <pc:sldLayoutChg chg="del">
          <pc:chgData name="Alex Cernik" userId="1cd5a177061dda4b" providerId="LiveId" clId="{B510913F-0CEB-44BF-87F0-347BF3ABCD67}" dt="2024-06-03T20:57:49.123" v="91"/>
          <pc:sldLayoutMkLst>
            <pc:docMk/>
            <pc:sldMasterMk cId="3316216720" sldId="2147483683"/>
            <pc:sldLayoutMk cId="1970390719" sldId="2147483884"/>
          </pc:sldLayoutMkLst>
        </pc:sldLayoutChg>
        <pc:sldLayoutChg chg="del">
          <pc:chgData name="Alex Cernik" userId="1cd5a177061dda4b" providerId="LiveId" clId="{B510913F-0CEB-44BF-87F0-347BF3ABCD67}" dt="2024-06-03T20:57:49.124" v="92"/>
          <pc:sldLayoutMkLst>
            <pc:docMk/>
            <pc:sldMasterMk cId="3316216720" sldId="2147483683"/>
            <pc:sldLayoutMk cId="1233583641" sldId="2147483885"/>
          </pc:sldLayoutMkLst>
        </pc:sldLayoutChg>
        <pc:sldLayoutChg chg="del">
          <pc:chgData name="Alex Cernik" userId="1cd5a177061dda4b" providerId="LiveId" clId="{B510913F-0CEB-44BF-87F0-347BF3ABCD67}" dt="2024-06-03T20:57:49.125" v="93"/>
          <pc:sldLayoutMkLst>
            <pc:docMk/>
            <pc:sldMasterMk cId="3316216720" sldId="2147483683"/>
            <pc:sldLayoutMk cId="197126857" sldId="2147483886"/>
          </pc:sldLayoutMkLst>
        </pc:sldLayoutChg>
        <pc:sldLayoutChg chg="del">
          <pc:chgData name="Alex Cernik" userId="1cd5a177061dda4b" providerId="LiveId" clId="{B510913F-0CEB-44BF-87F0-347BF3ABCD67}" dt="2024-06-03T20:57:49.126" v="94"/>
          <pc:sldLayoutMkLst>
            <pc:docMk/>
            <pc:sldMasterMk cId="3316216720" sldId="2147483683"/>
            <pc:sldLayoutMk cId="1784555141" sldId="2147483887"/>
          </pc:sldLayoutMkLst>
        </pc:sldLayoutChg>
        <pc:sldLayoutChg chg="del">
          <pc:chgData name="Alex Cernik" userId="1cd5a177061dda4b" providerId="LiveId" clId="{B510913F-0CEB-44BF-87F0-347BF3ABCD67}" dt="2024-06-03T20:57:49.126" v="95"/>
          <pc:sldLayoutMkLst>
            <pc:docMk/>
            <pc:sldMasterMk cId="3316216720" sldId="2147483683"/>
            <pc:sldLayoutMk cId="25935584" sldId="2147483888"/>
          </pc:sldLayoutMkLst>
        </pc:sldLayoutChg>
        <pc:sldLayoutChg chg="del">
          <pc:chgData name="Alex Cernik" userId="1cd5a177061dda4b" providerId="LiveId" clId="{B510913F-0CEB-44BF-87F0-347BF3ABCD67}" dt="2024-06-03T20:57:49.127" v="96"/>
          <pc:sldLayoutMkLst>
            <pc:docMk/>
            <pc:sldMasterMk cId="3316216720" sldId="2147483683"/>
            <pc:sldLayoutMk cId="2196592272" sldId="2147483889"/>
          </pc:sldLayoutMkLst>
        </pc:sldLayoutChg>
        <pc:sldLayoutChg chg="del">
          <pc:chgData name="Alex Cernik" userId="1cd5a177061dda4b" providerId="LiveId" clId="{B510913F-0CEB-44BF-87F0-347BF3ABCD67}" dt="2024-06-03T20:57:49.128" v="97"/>
          <pc:sldLayoutMkLst>
            <pc:docMk/>
            <pc:sldMasterMk cId="3316216720" sldId="2147483683"/>
            <pc:sldLayoutMk cId="3962186251" sldId="2147483890"/>
          </pc:sldLayoutMkLst>
        </pc:sldLayoutChg>
        <pc:sldLayoutChg chg="del">
          <pc:chgData name="Alex Cernik" userId="1cd5a177061dda4b" providerId="LiveId" clId="{B510913F-0CEB-44BF-87F0-347BF3ABCD67}" dt="2024-06-03T20:57:49.129" v="98"/>
          <pc:sldLayoutMkLst>
            <pc:docMk/>
            <pc:sldMasterMk cId="3316216720" sldId="2147483683"/>
            <pc:sldLayoutMk cId="328583104" sldId="2147483891"/>
          </pc:sldLayoutMkLst>
        </pc:sldLayoutChg>
        <pc:sldLayoutChg chg="del">
          <pc:chgData name="Alex Cernik" userId="1cd5a177061dda4b" providerId="LiveId" clId="{B510913F-0CEB-44BF-87F0-347BF3ABCD67}" dt="2024-06-03T20:57:49.130" v="99"/>
          <pc:sldLayoutMkLst>
            <pc:docMk/>
            <pc:sldMasterMk cId="3316216720" sldId="2147483683"/>
            <pc:sldLayoutMk cId="940216046" sldId="2147483892"/>
          </pc:sldLayoutMkLst>
        </pc:sldLayoutChg>
        <pc:sldLayoutChg chg="del">
          <pc:chgData name="Alex Cernik" userId="1cd5a177061dda4b" providerId="LiveId" clId="{B510913F-0CEB-44BF-87F0-347BF3ABCD67}" dt="2024-06-03T20:57:49.131" v="100"/>
          <pc:sldLayoutMkLst>
            <pc:docMk/>
            <pc:sldMasterMk cId="3316216720" sldId="2147483683"/>
            <pc:sldLayoutMk cId="2180020218" sldId="2147483893"/>
          </pc:sldLayoutMkLst>
        </pc:sldLayoutChg>
        <pc:sldLayoutChg chg="del">
          <pc:chgData name="Alex Cernik" userId="1cd5a177061dda4b" providerId="LiveId" clId="{B510913F-0CEB-44BF-87F0-347BF3ABCD67}" dt="2024-06-03T20:57:49.132" v="101"/>
          <pc:sldLayoutMkLst>
            <pc:docMk/>
            <pc:sldMasterMk cId="3316216720" sldId="2147483683"/>
            <pc:sldLayoutMk cId="236467842" sldId="2147483894"/>
          </pc:sldLayoutMkLst>
        </pc:sldLayoutChg>
        <pc:sldLayoutChg chg="del">
          <pc:chgData name="Alex Cernik" userId="1cd5a177061dda4b" providerId="LiveId" clId="{B510913F-0CEB-44BF-87F0-347BF3ABCD67}" dt="2024-06-03T20:57:49.133" v="102"/>
          <pc:sldLayoutMkLst>
            <pc:docMk/>
            <pc:sldMasterMk cId="3316216720" sldId="2147483683"/>
            <pc:sldLayoutMk cId="4029922738" sldId="2147483895"/>
          </pc:sldLayoutMkLst>
        </pc:sldLayoutChg>
        <pc:sldLayoutChg chg="del">
          <pc:chgData name="Alex Cernik" userId="1cd5a177061dda4b" providerId="LiveId" clId="{B510913F-0CEB-44BF-87F0-347BF3ABCD67}" dt="2024-06-03T20:57:49.133" v="103"/>
          <pc:sldLayoutMkLst>
            <pc:docMk/>
            <pc:sldMasterMk cId="3316216720" sldId="2147483683"/>
            <pc:sldLayoutMk cId="2279866409" sldId="2147483896"/>
          </pc:sldLayoutMkLst>
        </pc:sldLayoutChg>
        <pc:sldLayoutChg chg="del">
          <pc:chgData name="Alex Cernik" userId="1cd5a177061dda4b" providerId="LiveId" clId="{B510913F-0CEB-44BF-87F0-347BF3ABCD67}" dt="2024-06-03T20:57:49.134" v="104"/>
          <pc:sldLayoutMkLst>
            <pc:docMk/>
            <pc:sldMasterMk cId="3316216720" sldId="2147483683"/>
            <pc:sldLayoutMk cId="355695535" sldId="2147483897"/>
          </pc:sldLayoutMkLst>
        </pc:sldLayoutChg>
        <pc:sldLayoutChg chg="del">
          <pc:chgData name="Alex Cernik" userId="1cd5a177061dda4b" providerId="LiveId" clId="{B510913F-0CEB-44BF-87F0-347BF3ABCD67}" dt="2024-06-03T20:57:49.135" v="105"/>
          <pc:sldLayoutMkLst>
            <pc:docMk/>
            <pc:sldMasterMk cId="3316216720" sldId="2147483683"/>
            <pc:sldLayoutMk cId="840946859" sldId="2147483898"/>
          </pc:sldLayoutMkLst>
        </pc:sldLayoutChg>
        <pc:sldLayoutChg chg="del">
          <pc:chgData name="Alex Cernik" userId="1cd5a177061dda4b" providerId="LiveId" clId="{B510913F-0CEB-44BF-87F0-347BF3ABCD67}" dt="2024-06-03T20:57:49.136" v="106"/>
          <pc:sldLayoutMkLst>
            <pc:docMk/>
            <pc:sldMasterMk cId="3316216720" sldId="2147483683"/>
            <pc:sldLayoutMk cId="1182902378" sldId="2147483899"/>
          </pc:sldLayoutMkLst>
        </pc:sldLayoutChg>
        <pc:sldLayoutChg chg="del">
          <pc:chgData name="Alex Cernik" userId="1cd5a177061dda4b" providerId="LiveId" clId="{B510913F-0CEB-44BF-87F0-347BF3ABCD67}" dt="2024-06-03T20:57:49.137" v="107"/>
          <pc:sldLayoutMkLst>
            <pc:docMk/>
            <pc:sldMasterMk cId="3316216720" sldId="2147483683"/>
            <pc:sldLayoutMk cId="3050303635" sldId="2147483900"/>
          </pc:sldLayoutMkLst>
        </pc:sldLayoutChg>
        <pc:sldLayoutChg chg="del">
          <pc:chgData name="Alex Cernik" userId="1cd5a177061dda4b" providerId="LiveId" clId="{B510913F-0CEB-44BF-87F0-347BF3ABCD67}" dt="2024-06-03T20:57:49.137" v="108"/>
          <pc:sldLayoutMkLst>
            <pc:docMk/>
            <pc:sldMasterMk cId="3316216720" sldId="2147483683"/>
            <pc:sldLayoutMk cId="3801188348" sldId="2147483901"/>
          </pc:sldLayoutMkLst>
        </pc:sldLayoutChg>
        <pc:sldLayoutChg chg="del">
          <pc:chgData name="Alex Cernik" userId="1cd5a177061dda4b" providerId="LiveId" clId="{B510913F-0CEB-44BF-87F0-347BF3ABCD67}" dt="2024-06-03T20:57:49.138" v="109"/>
          <pc:sldLayoutMkLst>
            <pc:docMk/>
            <pc:sldMasterMk cId="3316216720" sldId="2147483683"/>
            <pc:sldLayoutMk cId="404727815" sldId="2147483902"/>
          </pc:sldLayoutMkLst>
        </pc:sldLayoutChg>
        <pc:sldLayoutChg chg="del">
          <pc:chgData name="Alex Cernik" userId="1cd5a177061dda4b" providerId="LiveId" clId="{B510913F-0CEB-44BF-87F0-347BF3ABCD67}" dt="2024-06-03T20:57:49.139" v="110"/>
          <pc:sldLayoutMkLst>
            <pc:docMk/>
            <pc:sldMasterMk cId="3316216720" sldId="2147483683"/>
            <pc:sldLayoutMk cId="443074349" sldId="2147483907"/>
          </pc:sldLayoutMkLst>
        </pc:sldLayoutChg>
        <pc:sldLayoutChg chg="del">
          <pc:chgData name="Alex Cernik" userId="1cd5a177061dda4b" providerId="LiveId" clId="{B510913F-0CEB-44BF-87F0-347BF3ABCD67}" dt="2024-06-03T20:57:49.140" v="111"/>
          <pc:sldLayoutMkLst>
            <pc:docMk/>
            <pc:sldMasterMk cId="3316216720" sldId="2147483683"/>
            <pc:sldLayoutMk cId="3116076660" sldId="2147483908"/>
          </pc:sldLayoutMkLst>
        </pc:sldLayoutChg>
        <pc:sldLayoutChg chg="del">
          <pc:chgData name="Alex Cernik" userId="1cd5a177061dda4b" providerId="LiveId" clId="{B510913F-0CEB-44BF-87F0-347BF3ABCD67}" dt="2024-06-03T20:57:49.141" v="112"/>
          <pc:sldLayoutMkLst>
            <pc:docMk/>
            <pc:sldMasterMk cId="3316216720" sldId="2147483683"/>
            <pc:sldLayoutMk cId="2666351055" sldId="2147483909"/>
          </pc:sldLayoutMkLst>
        </pc:sldLayoutChg>
        <pc:sldLayoutChg chg="del">
          <pc:chgData name="Alex Cernik" userId="1cd5a177061dda4b" providerId="LiveId" clId="{B510913F-0CEB-44BF-87F0-347BF3ABCD67}" dt="2024-06-03T20:57:49.142" v="113"/>
          <pc:sldLayoutMkLst>
            <pc:docMk/>
            <pc:sldMasterMk cId="3316216720" sldId="2147483683"/>
            <pc:sldLayoutMk cId="726491115" sldId="2147483913"/>
          </pc:sldLayoutMkLst>
        </pc:sldLayoutChg>
        <pc:sldLayoutChg chg="del">
          <pc:chgData name="Alex Cernik" userId="1cd5a177061dda4b" providerId="LiveId" clId="{B510913F-0CEB-44BF-87F0-347BF3ABCD67}" dt="2024-06-03T20:57:49.143" v="114"/>
          <pc:sldLayoutMkLst>
            <pc:docMk/>
            <pc:sldMasterMk cId="3316216720" sldId="2147483683"/>
            <pc:sldLayoutMk cId="4024167055" sldId="2147483914"/>
          </pc:sldLayoutMkLst>
        </pc:sldLayoutChg>
        <pc:sldLayoutChg chg="del">
          <pc:chgData name="Alex Cernik" userId="1cd5a177061dda4b" providerId="LiveId" clId="{B510913F-0CEB-44BF-87F0-347BF3ABCD67}" dt="2024-06-03T20:57:49.144" v="115"/>
          <pc:sldLayoutMkLst>
            <pc:docMk/>
            <pc:sldMasterMk cId="3316216720" sldId="2147483683"/>
            <pc:sldLayoutMk cId="3978428371" sldId="2147483947"/>
          </pc:sldLayoutMkLst>
        </pc:sldLayoutChg>
        <pc:sldLayoutChg chg="del">
          <pc:chgData name="Alex Cernik" userId="1cd5a177061dda4b" providerId="LiveId" clId="{B510913F-0CEB-44BF-87F0-347BF3ABCD67}" dt="2024-06-03T20:57:49.145" v="116"/>
          <pc:sldLayoutMkLst>
            <pc:docMk/>
            <pc:sldMasterMk cId="3316216720" sldId="2147483683"/>
            <pc:sldLayoutMk cId="668261160" sldId="2147483948"/>
          </pc:sldLayoutMkLst>
        </pc:sldLayoutChg>
        <pc:sldLayoutChg chg="del">
          <pc:chgData name="Alex Cernik" userId="1cd5a177061dda4b" providerId="LiveId" clId="{B510913F-0CEB-44BF-87F0-347BF3ABCD67}" dt="2024-06-03T20:57:49.145" v="117"/>
          <pc:sldLayoutMkLst>
            <pc:docMk/>
            <pc:sldMasterMk cId="3316216720" sldId="2147483683"/>
            <pc:sldLayoutMk cId="1425217658" sldId="2147483949"/>
          </pc:sldLayoutMkLst>
        </pc:sldLayoutChg>
        <pc:sldLayoutChg chg="del">
          <pc:chgData name="Alex Cernik" userId="1cd5a177061dda4b" providerId="LiveId" clId="{B510913F-0CEB-44BF-87F0-347BF3ABCD67}" dt="2024-06-03T20:57:49.146" v="118"/>
          <pc:sldLayoutMkLst>
            <pc:docMk/>
            <pc:sldMasterMk cId="3316216720" sldId="2147483683"/>
            <pc:sldLayoutMk cId="4002230500" sldId="2147483950"/>
          </pc:sldLayoutMkLst>
        </pc:sldLayoutChg>
        <pc:sldLayoutChg chg="del">
          <pc:chgData name="Alex Cernik" userId="1cd5a177061dda4b" providerId="LiveId" clId="{B510913F-0CEB-44BF-87F0-347BF3ABCD67}" dt="2024-06-03T20:57:49.147" v="119"/>
          <pc:sldLayoutMkLst>
            <pc:docMk/>
            <pc:sldMasterMk cId="3316216720" sldId="2147483683"/>
            <pc:sldLayoutMk cId="4033149752" sldId="2147483951"/>
          </pc:sldLayoutMkLst>
        </pc:sldLayoutChg>
        <pc:sldLayoutChg chg="del">
          <pc:chgData name="Alex Cernik" userId="1cd5a177061dda4b" providerId="LiveId" clId="{B510913F-0CEB-44BF-87F0-347BF3ABCD67}" dt="2024-06-03T20:57:49.148" v="120"/>
          <pc:sldLayoutMkLst>
            <pc:docMk/>
            <pc:sldMasterMk cId="3316216720" sldId="2147483683"/>
            <pc:sldLayoutMk cId="742775402" sldId="2147483952"/>
          </pc:sldLayoutMkLst>
        </pc:sldLayoutChg>
        <pc:sldLayoutChg chg="del">
          <pc:chgData name="Alex Cernik" userId="1cd5a177061dda4b" providerId="LiveId" clId="{B510913F-0CEB-44BF-87F0-347BF3ABCD67}" dt="2024-06-03T20:57:49.149" v="121"/>
          <pc:sldLayoutMkLst>
            <pc:docMk/>
            <pc:sldMasterMk cId="3316216720" sldId="2147483683"/>
            <pc:sldLayoutMk cId="536187449" sldId="2147483953"/>
          </pc:sldLayoutMkLst>
        </pc:sldLayoutChg>
        <pc:sldLayoutChg chg="del">
          <pc:chgData name="Alex Cernik" userId="1cd5a177061dda4b" providerId="LiveId" clId="{B510913F-0CEB-44BF-87F0-347BF3ABCD67}" dt="2024-06-03T20:57:49.150" v="122"/>
          <pc:sldLayoutMkLst>
            <pc:docMk/>
            <pc:sldMasterMk cId="3316216720" sldId="2147483683"/>
            <pc:sldLayoutMk cId="3008819349" sldId="2147483954"/>
          </pc:sldLayoutMkLst>
        </pc:sldLayoutChg>
        <pc:sldLayoutChg chg="del">
          <pc:chgData name="Alex Cernik" userId="1cd5a177061dda4b" providerId="LiveId" clId="{B510913F-0CEB-44BF-87F0-347BF3ABCD67}" dt="2024-06-03T20:57:49.150" v="123"/>
          <pc:sldLayoutMkLst>
            <pc:docMk/>
            <pc:sldMasterMk cId="3316216720" sldId="2147483683"/>
            <pc:sldLayoutMk cId="2435512256" sldId="2147483955"/>
          </pc:sldLayoutMkLst>
        </pc:sldLayoutChg>
        <pc:sldLayoutChg chg="del">
          <pc:chgData name="Alex Cernik" userId="1cd5a177061dda4b" providerId="LiveId" clId="{B510913F-0CEB-44BF-87F0-347BF3ABCD67}" dt="2024-06-03T20:57:49.151" v="124"/>
          <pc:sldLayoutMkLst>
            <pc:docMk/>
            <pc:sldMasterMk cId="3316216720" sldId="2147483683"/>
            <pc:sldLayoutMk cId="847247615" sldId="2147483956"/>
          </pc:sldLayoutMkLst>
        </pc:sldLayoutChg>
        <pc:sldLayoutChg chg="del">
          <pc:chgData name="Alex Cernik" userId="1cd5a177061dda4b" providerId="LiveId" clId="{B510913F-0CEB-44BF-87F0-347BF3ABCD67}" dt="2024-06-03T20:57:49.152" v="125"/>
          <pc:sldLayoutMkLst>
            <pc:docMk/>
            <pc:sldMasterMk cId="3316216720" sldId="2147483683"/>
            <pc:sldLayoutMk cId="3581748359" sldId="2147483957"/>
          </pc:sldLayoutMkLst>
        </pc:sldLayoutChg>
        <pc:sldLayoutChg chg="del">
          <pc:chgData name="Alex Cernik" userId="1cd5a177061dda4b" providerId="LiveId" clId="{B510913F-0CEB-44BF-87F0-347BF3ABCD67}" dt="2024-06-03T20:57:49.153" v="126"/>
          <pc:sldLayoutMkLst>
            <pc:docMk/>
            <pc:sldMasterMk cId="3316216720" sldId="2147483683"/>
            <pc:sldLayoutMk cId="3305309396" sldId="2147483958"/>
          </pc:sldLayoutMkLst>
        </pc:sldLayoutChg>
        <pc:sldLayoutChg chg="del">
          <pc:chgData name="Alex Cernik" userId="1cd5a177061dda4b" providerId="LiveId" clId="{B510913F-0CEB-44BF-87F0-347BF3ABCD67}" dt="2024-06-03T20:57:49.154" v="127"/>
          <pc:sldLayoutMkLst>
            <pc:docMk/>
            <pc:sldMasterMk cId="3316216720" sldId="2147483683"/>
            <pc:sldLayoutMk cId="3728535283" sldId="2147483959"/>
          </pc:sldLayoutMkLst>
        </pc:sldLayoutChg>
        <pc:sldLayoutChg chg="del">
          <pc:chgData name="Alex Cernik" userId="1cd5a177061dda4b" providerId="LiveId" clId="{B510913F-0CEB-44BF-87F0-347BF3ABCD67}" dt="2024-06-03T20:57:49.154" v="128"/>
          <pc:sldLayoutMkLst>
            <pc:docMk/>
            <pc:sldMasterMk cId="3316216720" sldId="2147483683"/>
            <pc:sldLayoutMk cId="3558079364" sldId="2147483960"/>
          </pc:sldLayoutMkLst>
        </pc:sldLayoutChg>
        <pc:sldLayoutChg chg="del">
          <pc:chgData name="Alex Cernik" userId="1cd5a177061dda4b" providerId="LiveId" clId="{B510913F-0CEB-44BF-87F0-347BF3ABCD67}" dt="2024-06-03T20:57:49.155" v="129"/>
          <pc:sldLayoutMkLst>
            <pc:docMk/>
            <pc:sldMasterMk cId="3316216720" sldId="2147483683"/>
            <pc:sldLayoutMk cId="2876506834" sldId="2147483961"/>
          </pc:sldLayoutMkLst>
        </pc:sldLayoutChg>
        <pc:sldLayoutChg chg="del">
          <pc:chgData name="Alex Cernik" userId="1cd5a177061dda4b" providerId="LiveId" clId="{B510913F-0CEB-44BF-87F0-347BF3ABCD67}" dt="2024-06-03T20:57:49.156" v="130"/>
          <pc:sldLayoutMkLst>
            <pc:docMk/>
            <pc:sldMasterMk cId="3316216720" sldId="2147483683"/>
            <pc:sldLayoutMk cId="3130482111" sldId="2147483962"/>
          </pc:sldLayoutMkLst>
        </pc:sldLayoutChg>
        <pc:sldLayoutChg chg="del">
          <pc:chgData name="Alex Cernik" userId="1cd5a177061dda4b" providerId="LiveId" clId="{B510913F-0CEB-44BF-87F0-347BF3ABCD67}" dt="2024-06-03T20:57:49.157" v="131"/>
          <pc:sldLayoutMkLst>
            <pc:docMk/>
            <pc:sldMasterMk cId="3316216720" sldId="2147483683"/>
            <pc:sldLayoutMk cId="1068061528" sldId="2147483963"/>
          </pc:sldLayoutMkLst>
        </pc:sldLayoutChg>
        <pc:sldLayoutChg chg="del">
          <pc:chgData name="Alex Cernik" userId="1cd5a177061dda4b" providerId="LiveId" clId="{B510913F-0CEB-44BF-87F0-347BF3ABCD67}" dt="2024-06-03T20:57:49.158" v="132"/>
          <pc:sldLayoutMkLst>
            <pc:docMk/>
            <pc:sldMasterMk cId="3316216720" sldId="2147483683"/>
            <pc:sldLayoutMk cId="1415529559" sldId="2147483964"/>
          </pc:sldLayoutMkLst>
        </pc:sldLayoutChg>
        <pc:sldLayoutChg chg="del">
          <pc:chgData name="Alex Cernik" userId="1cd5a177061dda4b" providerId="LiveId" clId="{B510913F-0CEB-44BF-87F0-347BF3ABCD67}" dt="2024-06-03T20:57:49.159" v="133"/>
          <pc:sldLayoutMkLst>
            <pc:docMk/>
            <pc:sldMasterMk cId="3316216720" sldId="2147483683"/>
            <pc:sldLayoutMk cId="4198399730" sldId="2147483965"/>
          </pc:sldLayoutMkLst>
        </pc:sldLayoutChg>
        <pc:sldLayoutChg chg="del">
          <pc:chgData name="Alex Cernik" userId="1cd5a177061dda4b" providerId="LiveId" clId="{B510913F-0CEB-44BF-87F0-347BF3ABCD67}" dt="2024-06-03T20:57:49.159" v="134"/>
          <pc:sldLayoutMkLst>
            <pc:docMk/>
            <pc:sldMasterMk cId="3316216720" sldId="2147483683"/>
            <pc:sldLayoutMk cId="2425829035" sldId="2147483966"/>
          </pc:sldLayoutMkLst>
        </pc:sldLayoutChg>
        <pc:sldLayoutChg chg="del">
          <pc:chgData name="Alex Cernik" userId="1cd5a177061dda4b" providerId="LiveId" clId="{B510913F-0CEB-44BF-87F0-347BF3ABCD67}" dt="2024-06-03T20:57:49.160" v="135"/>
          <pc:sldLayoutMkLst>
            <pc:docMk/>
            <pc:sldMasterMk cId="3316216720" sldId="2147483683"/>
            <pc:sldLayoutMk cId="168495437" sldId="2147483967"/>
          </pc:sldLayoutMkLst>
        </pc:sldLayoutChg>
        <pc:sldLayoutChg chg="del">
          <pc:chgData name="Alex Cernik" userId="1cd5a177061dda4b" providerId="LiveId" clId="{B510913F-0CEB-44BF-87F0-347BF3ABCD67}" dt="2024-06-03T20:57:49.161" v="136"/>
          <pc:sldLayoutMkLst>
            <pc:docMk/>
            <pc:sldMasterMk cId="3316216720" sldId="2147483683"/>
            <pc:sldLayoutMk cId="424071290" sldId="2147483968"/>
          </pc:sldLayoutMkLst>
        </pc:sldLayoutChg>
        <pc:sldLayoutChg chg="del">
          <pc:chgData name="Alex Cernik" userId="1cd5a177061dda4b" providerId="LiveId" clId="{B510913F-0CEB-44BF-87F0-347BF3ABCD67}" dt="2024-06-03T20:57:49.162" v="137"/>
          <pc:sldLayoutMkLst>
            <pc:docMk/>
            <pc:sldMasterMk cId="3316216720" sldId="2147483683"/>
            <pc:sldLayoutMk cId="3236182676" sldId="2147483969"/>
          </pc:sldLayoutMkLst>
        </pc:sldLayoutChg>
        <pc:sldLayoutChg chg="del">
          <pc:chgData name="Alex Cernik" userId="1cd5a177061dda4b" providerId="LiveId" clId="{B510913F-0CEB-44BF-87F0-347BF3ABCD67}" dt="2024-06-03T20:57:49.162" v="138"/>
          <pc:sldLayoutMkLst>
            <pc:docMk/>
            <pc:sldMasterMk cId="3316216720" sldId="2147483683"/>
            <pc:sldLayoutMk cId="974868443" sldId="2147483970"/>
          </pc:sldLayoutMkLst>
        </pc:sldLayoutChg>
        <pc:sldLayoutChg chg="del">
          <pc:chgData name="Alex Cernik" userId="1cd5a177061dda4b" providerId="LiveId" clId="{B510913F-0CEB-44BF-87F0-347BF3ABCD67}" dt="2024-06-03T20:57:49.163" v="139"/>
          <pc:sldLayoutMkLst>
            <pc:docMk/>
            <pc:sldMasterMk cId="3316216720" sldId="2147483683"/>
            <pc:sldLayoutMk cId="3540152794" sldId="2147483986"/>
          </pc:sldLayoutMkLst>
        </pc:sldLayoutChg>
        <pc:sldLayoutChg chg="del">
          <pc:chgData name="Alex Cernik" userId="1cd5a177061dda4b" providerId="LiveId" clId="{B510913F-0CEB-44BF-87F0-347BF3ABCD67}" dt="2024-06-03T20:57:49.164" v="140"/>
          <pc:sldLayoutMkLst>
            <pc:docMk/>
            <pc:sldMasterMk cId="3316216720" sldId="2147483683"/>
            <pc:sldLayoutMk cId="3849532483" sldId="2147483987"/>
          </pc:sldLayoutMkLst>
        </pc:sldLayoutChg>
        <pc:sldLayoutChg chg="del">
          <pc:chgData name="Alex Cernik" userId="1cd5a177061dda4b" providerId="LiveId" clId="{B510913F-0CEB-44BF-87F0-347BF3ABCD67}" dt="2024-06-03T20:57:49.165" v="141"/>
          <pc:sldLayoutMkLst>
            <pc:docMk/>
            <pc:sldMasterMk cId="3316216720" sldId="2147483683"/>
            <pc:sldLayoutMk cId="682840240" sldId="2147483988"/>
          </pc:sldLayoutMkLst>
        </pc:sldLayoutChg>
        <pc:sldLayoutChg chg="del">
          <pc:chgData name="Alex Cernik" userId="1cd5a177061dda4b" providerId="LiveId" clId="{B510913F-0CEB-44BF-87F0-347BF3ABCD67}" dt="2024-06-03T20:57:49.165" v="142"/>
          <pc:sldLayoutMkLst>
            <pc:docMk/>
            <pc:sldMasterMk cId="3316216720" sldId="2147483683"/>
            <pc:sldLayoutMk cId="2005456278" sldId="2147483992"/>
          </pc:sldLayoutMkLst>
        </pc:sldLayoutChg>
        <pc:sldLayoutChg chg="del">
          <pc:chgData name="Alex Cernik" userId="1cd5a177061dda4b" providerId="LiveId" clId="{B510913F-0CEB-44BF-87F0-347BF3ABCD67}" dt="2024-06-03T20:57:49.166" v="143"/>
          <pc:sldLayoutMkLst>
            <pc:docMk/>
            <pc:sldMasterMk cId="3316216720" sldId="2147483683"/>
            <pc:sldLayoutMk cId="2656795802" sldId="2147483993"/>
          </pc:sldLayoutMkLst>
        </pc:sldLayoutChg>
        <pc:sldLayoutChg chg="del">
          <pc:chgData name="Alex Cernik" userId="1cd5a177061dda4b" providerId="LiveId" clId="{B510913F-0CEB-44BF-87F0-347BF3ABCD67}" dt="2024-06-03T20:57:49.167" v="144"/>
          <pc:sldLayoutMkLst>
            <pc:docMk/>
            <pc:sldMasterMk cId="3316216720" sldId="2147483683"/>
            <pc:sldLayoutMk cId="1660778962" sldId="2147483997"/>
          </pc:sldLayoutMkLst>
        </pc:sldLayoutChg>
        <pc:sldLayoutChg chg="del">
          <pc:chgData name="Alex Cernik" userId="1cd5a177061dda4b" providerId="LiveId" clId="{B510913F-0CEB-44BF-87F0-347BF3ABCD67}" dt="2024-06-03T20:57:49.168" v="145"/>
          <pc:sldLayoutMkLst>
            <pc:docMk/>
            <pc:sldMasterMk cId="3316216720" sldId="2147483683"/>
            <pc:sldLayoutMk cId="1502588552" sldId="2147483998"/>
          </pc:sldLayoutMkLst>
        </pc:sldLayoutChg>
        <pc:sldLayoutChg chg="del">
          <pc:chgData name="Alex Cernik" userId="1cd5a177061dda4b" providerId="LiveId" clId="{B510913F-0CEB-44BF-87F0-347BF3ABCD67}" dt="2024-06-03T20:57:49.168" v="146"/>
          <pc:sldLayoutMkLst>
            <pc:docMk/>
            <pc:sldMasterMk cId="3316216720" sldId="2147483683"/>
            <pc:sldLayoutMk cId="1789125668" sldId="2147484031"/>
          </pc:sldLayoutMkLst>
        </pc:sldLayoutChg>
        <pc:sldLayoutChg chg="del">
          <pc:chgData name="Alex Cernik" userId="1cd5a177061dda4b" providerId="LiveId" clId="{B510913F-0CEB-44BF-87F0-347BF3ABCD67}" dt="2024-06-03T20:57:49.169" v="147"/>
          <pc:sldLayoutMkLst>
            <pc:docMk/>
            <pc:sldMasterMk cId="3316216720" sldId="2147483683"/>
            <pc:sldLayoutMk cId="988263224" sldId="2147484032"/>
          </pc:sldLayoutMkLst>
        </pc:sldLayoutChg>
        <pc:sldLayoutChg chg="del">
          <pc:chgData name="Alex Cernik" userId="1cd5a177061dda4b" providerId="LiveId" clId="{B510913F-0CEB-44BF-87F0-347BF3ABCD67}" dt="2024-06-03T20:57:49.170" v="148"/>
          <pc:sldLayoutMkLst>
            <pc:docMk/>
            <pc:sldMasterMk cId="3316216720" sldId="2147483683"/>
            <pc:sldLayoutMk cId="1374844646" sldId="2147484033"/>
          </pc:sldLayoutMkLst>
        </pc:sldLayoutChg>
        <pc:sldLayoutChg chg="del">
          <pc:chgData name="Alex Cernik" userId="1cd5a177061dda4b" providerId="LiveId" clId="{B510913F-0CEB-44BF-87F0-347BF3ABCD67}" dt="2024-06-03T20:57:49.171" v="149"/>
          <pc:sldLayoutMkLst>
            <pc:docMk/>
            <pc:sldMasterMk cId="3316216720" sldId="2147483683"/>
            <pc:sldLayoutMk cId="1037257106" sldId="2147484034"/>
          </pc:sldLayoutMkLst>
        </pc:sldLayoutChg>
        <pc:sldLayoutChg chg="del">
          <pc:chgData name="Alex Cernik" userId="1cd5a177061dda4b" providerId="LiveId" clId="{B510913F-0CEB-44BF-87F0-347BF3ABCD67}" dt="2024-06-03T20:57:49.172" v="150"/>
          <pc:sldLayoutMkLst>
            <pc:docMk/>
            <pc:sldMasterMk cId="3316216720" sldId="2147483683"/>
            <pc:sldLayoutMk cId="313157142" sldId="2147484035"/>
          </pc:sldLayoutMkLst>
        </pc:sldLayoutChg>
        <pc:sldLayoutChg chg="del">
          <pc:chgData name="Alex Cernik" userId="1cd5a177061dda4b" providerId="LiveId" clId="{B510913F-0CEB-44BF-87F0-347BF3ABCD67}" dt="2024-06-03T20:57:49.172" v="151"/>
          <pc:sldLayoutMkLst>
            <pc:docMk/>
            <pc:sldMasterMk cId="3316216720" sldId="2147483683"/>
            <pc:sldLayoutMk cId="2496517734" sldId="2147484036"/>
          </pc:sldLayoutMkLst>
        </pc:sldLayoutChg>
        <pc:sldLayoutChg chg="del">
          <pc:chgData name="Alex Cernik" userId="1cd5a177061dda4b" providerId="LiveId" clId="{B510913F-0CEB-44BF-87F0-347BF3ABCD67}" dt="2024-06-03T20:57:49.173" v="152"/>
          <pc:sldLayoutMkLst>
            <pc:docMk/>
            <pc:sldMasterMk cId="3316216720" sldId="2147483683"/>
            <pc:sldLayoutMk cId="1712734768" sldId="2147484037"/>
          </pc:sldLayoutMkLst>
        </pc:sldLayoutChg>
        <pc:sldLayoutChg chg="del">
          <pc:chgData name="Alex Cernik" userId="1cd5a177061dda4b" providerId="LiveId" clId="{B510913F-0CEB-44BF-87F0-347BF3ABCD67}" dt="2024-06-03T20:57:49.174" v="153"/>
          <pc:sldLayoutMkLst>
            <pc:docMk/>
            <pc:sldMasterMk cId="3316216720" sldId="2147483683"/>
            <pc:sldLayoutMk cId="3556462332" sldId="2147484038"/>
          </pc:sldLayoutMkLst>
        </pc:sldLayoutChg>
        <pc:sldLayoutChg chg="del">
          <pc:chgData name="Alex Cernik" userId="1cd5a177061dda4b" providerId="LiveId" clId="{B510913F-0CEB-44BF-87F0-347BF3ABCD67}" dt="2024-06-03T20:57:49.175" v="154"/>
          <pc:sldLayoutMkLst>
            <pc:docMk/>
            <pc:sldMasterMk cId="3316216720" sldId="2147483683"/>
            <pc:sldLayoutMk cId="2252120697" sldId="2147484039"/>
          </pc:sldLayoutMkLst>
        </pc:sldLayoutChg>
        <pc:sldLayoutChg chg="del">
          <pc:chgData name="Alex Cernik" userId="1cd5a177061dda4b" providerId="LiveId" clId="{B510913F-0CEB-44BF-87F0-347BF3ABCD67}" dt="2024-06-03T20:57:49.175" v="155"/>
          <pc:sldLayoutMkLst>
            <pc:docMk/>
            <pc:sldMasterMk cId="3316216720" sldId="2147483683"/>
            <pc:sldLayoutMk cId="2612016096" sldId="2147484040"/>
          </pc:sldLayoutMkLst>
        </pc:sldLayoutChg>
        <pc:sldLayoutChg chg="del">
          <pc:chgData name="Alex Cernik" userId="1cd5a177061dda4b" providerId="LiveId" clId="{B510913F-0CEB-44BF-87F0-347BF3ABCD67}" dt="2024-06-03T20:57:49.176" v="156"/>
          <pc:sldLayoutMkLst>
            <pc:docMk/>
            <pc:sldMasterMk cId="3316216720" sldId="2147483683"/>
            <pc:sldLayoutMk cId="4016353681" sldId="2147484041"/>
          </pc:sldLayoutMkLst>
        </pc:sldLayoutChg>
        <pc:sldLayoutChg chg="del">
          <pc:chgData name="Alex Cernik" userId="1cd5a177061dda4b" providerId="LiveId" clId="{B510913F-0CEB-44BF-87F0-347BF3ABCD67}" dt="2024-06-03T20:57:49.177" v="157"/>
          <pc:sldLayoutMkLst>
            <pc:docMk/>
            <pc:sldMasterMk cId="3316216720" sldId="2147483683"/>
            <pc:sldLayoutMk cId="4018646389" sldId="2147484042"/>
          </pc:sldLayoutMkLst>
        </pc:sldLayoutChg>
        <pc:sldLayoutChg chg="del">
          <pc:chgData name="Alex Cernik" userId="1cd5a177061dda4b" providerId="LiveId" clId="{B510913F-0CEB-44BF-87F0-347BF3ABCD67}" dt="2024-06-03T20:57:49.177" v="158"/>
          <pc:sldLayoutMkLst>
            <pc:docMk/>
            <pc:sldMasterMk cId="3316216720" sldId="2147483683"/>
            <pc:sldLayoutMk cId="4201841526" sldId="2147484046"/>
          </pc:sldLayoutMkLst>
        </pc:sldLayoutChg>
        <pc:sldLayoutChg chg="del">
          <pc:chgData name="Alex Cernik" userId="1cd5a177061dda4b" providerId="LiveId" clId="{B510913F-0CEB-44BF-87F0-347BF3ABCD67}" dt="2024-06-03T20:57:49.178" v="159"/>
          <pc:sldLayoutMkLst>
            <pc:docMk/>
            <pc:sldMasterMk cId="3316216720" sldId="2147483683"/>
            <pc:sldLayoutMk cId="1037033365" sldId="2147484053"/>
          </pc:sldLayoutMkLst>
        </pc:sldLayoutChg>
      </pc:sldMasterChg>
      <pc:sldMasterChg chg="modSldLayout sldLayoutOrd">
        <pc:chgData name="Alex Cernik" userId="1cd5a177061dda4b" providerId="LiveId" clId="{B510913F-0CEB-44BF-87F0-347BF3ABCD67}" dt="2024-06-03T20:57:49.220" v="160"/>
        <pc:sldMasterMkLst>
          <pc:docMk/>
          <pc:sldMasterMk cId="2090807244" sldId="2147484120"/>
        </pc:sldMasterMkLst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384119035" sldId="2147484132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384119035" sldId="2147484132"/>
              <ac:spMk id="6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384119035" sldId="2147484132"/>
              <ac:spMk id="7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3677654705" sldId="2147484133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3677654705" sldId="2147484133"/>
              <ac:spMk id="5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3677654705" sldId="2147484133"/>
              <ac:spMk id="6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475424474" sldId="2147484134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75424474" sldId="2147484134"/>
              <ac:spMk id="2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75424474" sldId="2147484134"/>
              <ac:spMk id="6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75424474" sldId="2147484134"/>
              <ac:spMk id="7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4073845966" sldId="2147484135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073845966" sldId="2147484135"/>
              <ac:spMk id="6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230644945" sldId="2147484136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30644945" sldId="2147484136"/>
              <ac:spMk id="6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2004062180" sldId="2147484137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004062180" sldId="2147484137"/>
              <ac:spMk id="2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004062180" sldId="2147484137"/>
              <ac:spMk id="6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004062180" sldId="2147484137"/>
              <ac:spMk id="7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538938590" sldId="2147484138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538938590" sldId="2147484138"/>
              <ac:spMk id="2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538938590" sldId="2147484138"/>
              <ac:spMk id="6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538938590" sldId="2147484138"/>
              <ac:spMk id="7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2424397263" sldId="2147484139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424397263" sldId="2147484139"/>
              <ac:spMk id="2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424397263" sldId="2147484139"/>
              <ac:spMk id="6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2424397263" sldId="2147484139"/>
              <ac:spMk id="7" creationId="{00000000-0000-0000-0000-000000000000}"/>
            </ac:spMkLst>
          </pc:spChg>
        </pc:sldLayoutChg>
        <pc:sldLayoutChg chg="modSp 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4078519052" sldId="2147484140"/>
          </pc:sldLayoutMkLst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078519052" sldId="2147484140"/>
              <ac:spMk id="2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078519052" sldId="2147484140"/>
              <ac:spMk id="6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078519052" sldId="2147484140"/>
              <ac:spMk id="7" creationId="{00000000-0000-0000-0000-000000000000}"/>
            </ac:spMkLst>
          </pc:spChg>
          <pc:spChg chg="mod">
            <ac:chgData name="Alex Cernik" userId="1cd5a177061dda4b" providerId="LiveId" clId="{B510913F-0CEB-44BF-87F0-347BF3ABCD67}" dt="2024-06-03T20:57:49.220" v="160"/>
            <ac:spMkLst>
              <pc:docMk/>
              <pc:sldMasterMk cId="2090807244" sldId="2147484120"/>
              <pc:sldLayoutMk cId="4078519052" sldId="2147484140"/>
              <ac:spMk id="10" creationId="{00000000-0000-0000-0000-000000000000}"/>
            </ac:spMkLst>
          </pc:spChg>
        </pc:sldLayoutChg>
        <pc:sldLayoutChg chg="mod ord">
          <pc:chgData name="Alex Cernik" userId="1cd5a177061dda4b" providerId="LiveId" clId="{B510913F-0CEB-44BF-87F0-347BF3ABCD67}" dt="2024-06-03T20:57:49.220" v="160"/>
          <pc:sldLayoutMkLst>
            <pc:docMk/>
            <pc:sldMasterMk cId="2090807244" sldId="2147484120"/>
            <pc:sldLayoutMk cId="4214885912" sldId="2147484141"/>
          </pc:sldLayoutMkLst>
        </pc:sldLayoutChg>
      </pc:sldMasterChg>
      <pc:sldMasterChg chg="del sldLayoutOrd">
        <pc:chgData name="Alex Cernik" userId="1cd5a177061dda4b" providerId="LiveId" clId="{B510913F-0CEB-44BF-87F0-347BF3ABCD67}" dt="2024-06-03T20:57:49.364" v="161"/>
        <pc:sldMasterMkLst>
          <pc:docMk/>
          <pc:sldMasterMk cId="771369454" sldId="2147484131"/>
        </pc:sldMasterMkLst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45217C-4A71-E34C-8A2C-7A49D26229FC}" type="datetimeFigureOut">
              <a:rPr lang="en-US" smtClean="0"/>
              <a:t>6/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78AF03-1EAF-AE4E-9BB3-4C916B1EA4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7134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C06BAF-9260-4832-928A-9ED9A6021082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7D38C-DEDC-4454-8E31-5E0D395332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5269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2954FD-79A4-7008-90BD-D1FE715623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B04C46-1F9F-A99F-4F23-0332065B1E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E03DC-C9B5-72D0-482C-FDE033CB2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ACC907-11CD-421B-B9B0-1E67AF2D043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71F809-475D-D077-1B88-03E1AFC0C1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3591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800" b="0" i="0" u="none" strike="noStrike" baseline="0" dirty="0">
                <a:latin typeface="Poppins-Regular"/>
              </a:rPr>
              <a:t>Winncom’ s Grant Writing Service will provide project management throughout the grant application process. We will check every document and assist with any questions along with post award</a:t>
            </a:r>
          </a:p>
          <a:p>
            <a:pPr algn="l"/>
            <a:r>
              <a:rPr lang="en-US" sz="1800" b="0" i="0" u="none" strike="noStrike" baseline="0" dirty="0">
                <a:latin typeface="Poppins-Regular"/>
              </a:rPr>
              <a:t>compliance support.</a:t>
            </a:r>
          </a:p>
          <a:p>
            <a:pPr algn="l"/>
            <a:endParaRPr lang="en-US" sz="1800" b="0" i="0" u="none" strike="noStrike" baseline="0" dirty="0">
              <a:latin typeface="Poppins-Regular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endParaRPr lang="en-US" sz="12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None/>
            </a:pP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st-award support:</a:t>
            </a: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None/>
            </a:pPr>
            <a:endParaRPr lang="en-US" sz="12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None/>
            </a:pP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vernment funding requires ongoing accountability.  To make that easier, we offer post-award support.  To ensure taxpayer dollars are well spent, the government requires strict compliance requirements </a:t>
            </a:r>
            <a:r>
              <a:rPr lang="en-US" sz="1200" kern="1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rning</a:t>
            </a: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 project.  This includes:</a:t>
            </a:r>
          </a:p>
          <a:p>
            <a:pPr marL="228600" marR="0" lvl="0" indent="-2286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ess and closeout reports.</a:t>
            </a:r>
          </a:p>
          <a:p>
            <a:pPr marL="228600" marR="0" lvl="0" indent="-2286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umentation of work performed and how the funds are spent.</a:t>
            </a:r>
          </a:p>
          <a:p>
            <a:pPr marL="228600" marR="0" lvl="0" indent="-2286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imbursement invoices and quote submissions.  </a:t>
            </a: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None/>
            </a:pPr>
            <a:endParaRPr lang="en-US" sz="12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None/>
            </a:pPr>
            <a:r>
              <a:rPr lang="en-US" sz="12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r support program includes”: compliance consulting, performance reporting, invoice reimbursement, and closeout reporting.  </a:t>
            </a:r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7D38C-DEDC-4454-8E31-5E0D395332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6717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st support is required. Through our grant writing service, you will have a dedicated contact and a proven workflow that will take you through processing the materials to project reimbursements.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C7D38C-DEDC-4454-8E31-5E0D395332F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7150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-228600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dirty="0"/>
              <a:t>In addition to our native technical support capabilities based on the scope of work and size of these opportunities we have extended our staff through strategic partnerships.  </a:t>
            </a:r>
          </a:p>
          <a:p>
            <a:pPr marL="0" indent="-228600">
              <a:spcBef>
                <a:spcPts val="0"/>
              </a:spcBef>
              <a:spcAft>
                <a:spcPts val="600"/>
              </a:spcAft>
              <a:defRPr/>
            </a:pPr>
            <a:endParaRPr lang="en-US" sz="1200" dirty="0"/>
          </a:p>
          <a:p>
            <a:pPr marL="0" indent="-228600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dirty="0" err="1"/>
              <a:t>Winncom’s</a:t>
            </a:r>
            <a:r>
              <a:rPr lang="en-US" sz="1200" dirty="0"/>
              <a:t> Professional Engineering Service develop engineering plans and exhibits using Civil 3D, AutoCAD and GIS formats. </a:t>
            </a:r>
          </a:p>
          <a:p>
            <a:pPr marL="0" indent="-228600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dirty="0"/>
              <a:t>Offer onsite site surveys for wireless and fiber systems and provide PE stamped drawings.</a:t>
            </a:r>
          </a:p>
          <a:p>
            <a:endParaRPr lang="en-US" dirty="0"/>
          </a:p>
          <a:p>
            <a:r>
              <a:rPr lang="en-US" dirty="0"/>
              <a:t>Through our service, we have the ability to manage your OSP construction projects.</a:t>
            </a:r>
          </a:p>
          <a:p>
            <a:endParaRPr lang="en-US" dirty="0"/>
          </a:p>
          <a:p>
            <a:r>
              <a:rPr lang="en-US" dirty="0"/>
              <a:t>Our professional service provider has over 40-years in experience.  Typical projects include:</a:t>
            </a:r>
          </a:p>
          <a:p>
            <a:r>
              <a:rPr lang="en-US" dirty="0"/>
              <a:t>AS-build projects: scope includes locating existing fiber</a:t>
            </a:r>
          </a:p>
          <a:p>
            <a:r>
              <a:rPr lang="en-US" dirty="0"/>
              <a:t>Relocation Projects: Relocation of existing plant.  Scope includes fielding, excavation permits, new design, and traffic control designs.</a:t>
            </a:r>
          </a:p>
          <a:p>
            <a:r>
              <a:rPr lang="en-US" dirty="0"/>
              <a:t>Network Drop Projects: Field, </a:t>
            </a:r>
            <a:r>
              <a:rPr lang="en-US" dirty="0" err="1"/>
              <a:t>sesign</a:t>
            </a:r>
            <a:r>
              <a:rPr lang="en-US" dirty="0"/>
              <a:t>, engineering, and permit design.</a:t>
            </a:r>
          </a:p>
          <a:p>
            <a:r>
              <a:rPr lang="en-US" dirty="0"/>
              <a:t>Backhaul Engineering: Full engineering design of fiber runs </a:t>
            </a:r>
          </a:p>
          <a:p>
            <a:r>
              <a:rPr lang="en-US" dirty="0"/>
              <a:t>FTTE Projects: Field, engineering &amp; permit drawings </a:t>
            </a:r>
          </a:p>
          <a:p>
            <a:r>
              <a:rPr lang="en-US" dirty="0"/>
              <a:t>FTTH Projects: </a:t>
            </a:r>
            <a:r>
              <a:rPr lang="en-US" sz="1200" dirty="0">
                <a:ea typeface="+mn-lt"/>
              </a:rPr>
              <a:t>Scope included the design, engineering (fiber counts and splice types) of fiber runs via Aerial and Underground to hom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C7D38C-DEDC-4454-8E31-5E0D395332F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7900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We are partnered with LEAF, a leading provider in tailored financial solutions, specializing in empowering BEAD program participants with essential funding support for services and equipment.</a:t>
            </a:r>
          </a:p>
          <a:p>
            <a:pPr algn="l"/>
            <a:r>
              <a:rPr lang="en-US" sz="1800" b="0" i="0" dirty="0">
                <a:solidFill>
                  <a:srgbClr val="242424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800" b="0" i="0" dirty="0">
              <a:solidFill>
                <a:srgbClr val="242424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ding is a potential problem.  It is possible to need up to 50% coverage.   25% letter of credit plus 25% grant match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sz="1800" b="0" i="0" dirty="0">
              <a:solidFill>
                <a:srgbClr val="242424"/>
              </a:solidFill>
              <a:effectLst/>
              <a:latin typeface="Calibri" panose="020F0502020204030204" pitchFamily="34" charset="0"/>
            </a:endParaRPr>
          </a:p>
          <a:p>
            <a:pPr algn="l">
              <a:buFont typeface="Arial" panose="020B0604020202020204" pitchFamily="34" charset="0"/>
              <a:buNone/>
            </a:pPr>
            <a:r>
              <a:rPr lang="en-US" sz="1800" b="0" i="0" dirty="0">
                <a:solidFill>
                  <a:srgbClr val="242424"/>
                </a:solidFill>
                <a:effectLst/>
                <a:latin typeface="Calibri" panose="020F0502020204030204" pitchFamily="34" charset="0"/>
              </a:rPr>
              <a:t>With leaf, we can offer you two different types of options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Leaf Financial Corporation was formed in 2002.  Operating over 22 years, Leaf is also a part of Bank of America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b="1" dirty="0"/>
              <a:t>Capital Now Program</a:t>
            </a:r>
            <a:r>
              <a:rPr lang="en-US" sz="1200" dirty="0"/>
              <a:t>.  This is a leasing service for nontangible products like grant writing and professional engineering.  Like working capital, this short-term financing options provides up to 300K in funds financed over a 3–24-month term. 25,000 minimum to $300,000 maximum </a:t>
            </a:r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200" dirty="0"/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b="1" dirty="0"/>
              <a:t>Equipment Financing Options</a:t>
            </a:r>
            <a:r>
              <a:rPr lang="en-US" sz="1200" dirty="0"/>
              <a:t>.  Reduce your grant match obligation by prepaying for equipment.  This is </a:t>
            </a:r>
            <a:r>
              <a:rPr lang="en-US" sz="1200" dirty="0" err="1"/>
              <a:t>leafs</a:t>
            </a:r>
            <a:r>
              <a:rPr lang="en-US" sz="1200" dirty="0"/>
              <a:t> bread and butter.  Longer term financing.  UP to 1-5 years.  Preapprovals available up to 500k.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C7D38C-DEDC-4454-8E31-5E0D395332F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040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2954FD-79A4-7008-90BD-D1FE715623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B04C46-1F9F-A99F-4F23-0332065B1E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6E03DC-C9B5-72D0-482C-FDE033CB2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ACC907-11CD-421B-B9B0-1E67AF2D043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971F809-475D-D077-1B88-03E1AFC0C1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8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43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ACC907-11CD-421B-B9B0-1E67AF2D043F}" type="slidenum">
              <a:rPr kumimoji="0" lang="ru-RU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443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615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43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ACC907-11CD-421B-B9B0-1E67AF2D043F}" type="slidenum">
              <a:rPr kumimoji="0" lang="ru-RU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443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839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ACC907-11CD-421B-B9B0-1E67AF2D043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262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l-GR" sz="12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l-GR" sz="12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43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1F4D18E-6E60-4199-8A19-30C329049B2A}" type="slidenum">
              <a:rPr kumimoji="0" lang="el-GR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443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l-GR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726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F4D18E-6E60-4199-8A19-30C329049B2A}" type="slidenum">
              <a:rPr kumimoji="0" lang="el-G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l-G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251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54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981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7D38C-DEDC-4454-8E31-5E0D395332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220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sv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8A67B-13E5-4A1A-A315-1D9BAF7D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AC3113-082B-48F7-A2D1-84EB919A2E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A67CE3-BDCF-4702-9C90-810ED5CB0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81101-FDE8-4D68-9FDF-BE4B5244E0D9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D9444-515A-44BB-A1F1-9E8C0F28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0BBD89-40BC-4399-95C1-93B0593C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387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678B2-ACC1-44DC-B692-9CA9492B8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ACB4D3-3309-4A40-9599-1E1733A4E9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59C701-46EF-4656-ADF3-91003D6A4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A646C-CB0C-4D91-840B-9871931BC2CC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BBD0D-6523-4718-B84F-E6CA7FCB6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CC0B-B869-4C9A-9C54-B053BF2A0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3888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34031B42-8ACF-0D61-11C0-959766C8B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9060864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2.2 Title dark">
    <p:bg>
      <p:bgPr>
        <a:gradFill>
          <a:gsLst>
            <a:gs pos="53100">
              <a:srgbClr val="003595"/>
            </a:gs>
            <a:gs pos="0">
              <a:schemeClr val="tx1">
                <a:lumMod val="96000"/>
              </a:schemeClr>
            </a:gs>
            <a:gs pos="100000">
              <a:schemeClr val="accent1">
                <a:lumMod val="30000"/>
              </a:schemeClr>
            </a:gs>
          </a:gsLst>
          <a:lin ang="12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 Placeholder 42">
            <a:extLst>
              <a:ext uri="{FF2B5EF4-FFF2-40B4-BE49-F238E27FC236}">
                <a16:creationId xmlns:a16="http://schemas.microsoft.com/office/drawing/2014/main" id="{65BB4E9F-2E29-3042-C3C2-66B30120BB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</p:spTree>
    <p:extLst>
      <p:ext uri="{BB962C8B-B14F-4D97-AF65-F5344CB8AC3E}">
        <p14:creationId xmlns:p14="http://schemas.microsoft.com/office/powerpoint/2010/main" val="26085674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0390628D-EDCB-823F-3281-E26163D5C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560512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64CD9D7-6169-977F-2770-ADEC0D6EE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666C31-62D7-CEFA-FFA5-6E39B2A9667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E83870-7680-0EC5-A60C-DDC82D20159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3FD35A0-F98B-4E10-5EEB-CC206A99D77A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26AEA66-94E0-CBBE-2810-477A8B621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245082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8A36BB1-1CB4-70E4-B774-36E6FFADAD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5368543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1pPr>
            <a:lvl2pPr marL="23999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2pPr>
            <a:lvl3pPr marL="479988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3pPr>
            <a:lvl4pPr marL="71998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4pPr>
            <a:lvl5pPr marL="95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6C6E69-321F-D4AD-8DE6-1E8BDA9990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8F815C-F7BD-B743-55F1-819C90566A6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FE394A0-1BF5-A207-62B2-624B902703EF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42F71C-985A-E2BB-6FBF-54A07A91DCC3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362F7ED-C2A3-E1DD-8729-A9B3A2660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516823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Bulletpoint text 1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AA8973-ED90-DA21-18C7-5D6E292CC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4D957F-E5DE-27F8-AACE-C02FAE5A4250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281E37-10DE-9743-87A9-A079EEC7D36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380BE7-EF71-135D-FC9B-9D9C4CFD066E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0701039-6E84-E6CE-7E91-BAB5836AA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487045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Bulletpoint text 2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988706-2E03-4A9C-79F3-2E7AE15E6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B1039B-CAD1-E7A1-9A8E-421F00BB27A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A31894B-2ADC-F353-515E-61B978FE204D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5288A7-E819-08AD-0192-BAB1AB7959D8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5176F92-BBFE-DBC8-EAB4-685F805E3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166499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Bulletpoint text 3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0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AB306A2-2949-7644-5CCE-6B01F3600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FAD2D5-5981-9B4A-69C8-3901DF8F846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FBD0FB5-5841-7798-81F7-03203504ECC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2EBFFC-4C2D-D007-FA55-966B1047852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024A70A-45FE-D443-B1F3-C03BAFA27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5582502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Bulletpoint text 4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5E782D2-17EB-7305-867D-635CABCFC8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EB6067-6AAF-DE7E-E481-757CDC1CC59F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C92C61F-FD93-073C-AFAA-3629762CCB45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3E1782-7EA3-5D5C-4FB2-290A89A7E3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22E3335-8FF0-0584-6655-EE052F072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990412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12CA40-173C-4FE8-9274-7153D8B421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0B0DDD-4119-4FD3-B1F3-7491D2460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745CA4-4A6F-48B2-BA25-DBF24E103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B43D9F-DEB5-41B8-B9E9-D967617D5C74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D66E-5815-4E22-B843-B849F0F2D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7D3B2D-D26E-4E3D-B6C2-07039E220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29135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Numbered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92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bg1"/>
                </a:solidFill>
              </a:defRPr>
            </a:lvl1pPr>
            <a:lvl2pPr marL="544786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bg1"/>
                </a:solidFill>
              </a:defRPr>
            </a:lvl2pPr>
            <a:lvl3pPr marL="784780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bg1"/>
                </a:solidFill>
              </a:defRPr>
            </a:lvl3pPr>
            <a:lvl4pPr marL="1024774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bg1"/>
                </a:solidFill>
              </a:defRPr>
            </a:lvl4pPr>
            <a:lvl5pPr marL="1276168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68" marR="0" lvl="4" indent="-30479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27D84-480B-22A7-4B2A-BFD3AB9191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8B0B3F-161E-8508-3B23-007FE1624352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9F8CB66-4F0D-7F21-56F6-56AAA5C0222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760B86-74B6-48A3-CE6D-96096653BF7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D20D035-9F8D-A232-B41B-0EC79F115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1182304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E545D7-2373-D9BF-1A5C-DDEF3299CD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1221AC1C-1EF4-5D9A-A440-017C6D790A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AD1F5B-D865-3F9F-4D96-58C6DD62ECDF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624C8-71C7-7928-25B9-5352C8FD2EB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75E4B3-EDD4-C5F1-7EF2-8B6126FAC2F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34E36D38-263C-DBB6-A0D4-5E9785455C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1078486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Title slide with media 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292656-5749-2B4B-FA27-42765BDE3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5" name="Text Placeholder 42">
            <a:extLst>
              <a:ext uri="{FF2B5EF4-FFF2-40B4-BE49-F238E27FC236}">
                <a16:creationId xmlns:a16="http://schemas.microsoft.com/office/drawing/2014/main" id="{4F756C8B-0244-6A11-8EC3-4A1D203CDD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759CC4-69C8-613F-E557-4E2AEE7B75E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0A76AB-576F-2C48-7ED4-0E98A54B99AD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253AE-3DDB-8C8A-399D-C55C49CB083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DC17B7D-4E9B-5FAC-1228-C97FB1CFC5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83528417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 Title slide with media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41FE85-3CE7-12FA-3841-D7CC0ABB65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418BB1-0E7E-AAD3-AD71-82204464918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B48A79-625E-B973-DCD8-533E86F25072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9A4E9B-BED0-504E-628D-EAD882C392A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742AC6DC-CFBE-F98E-4CC4-2390702BA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651789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 Title slide with media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1E3056-42DC-BA9B-F46D-475E5BE32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681D21-FC7E-7F82-9685-4F1EF53B236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BEFAD-5693-7A1A-A64F-C540D390A0B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40E574-42A1-50DE-BFA2-D52D3D35902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DEF2D02-B6B9-E747-F0EA-9ED48DC28C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07924628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0390628D-EDCB-823F-3281-E26163D5C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422025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64CD9D7-6169-977F-2770-ADEC0D6EE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666C31-62D7-CEFA-FFA5-6E39B2A9667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E83870-7680-0EC5-A60C-DDC82D20159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3FD35A0-F98B-4E10-5EEB-CC206A99D77A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26AEA66-94E0-CBBE-2810-477A8B621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11870458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8A36BB1-1CB4-70E4-B774-36E6FFADAD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4585032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3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1pPr>
            <a:lvl2pPr marL="23998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2pPr>
            <a:lvl3pPr marL="47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3pPr>
            <a:lvl4pPr marL="71996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4pPr>
            <a:lvl5pPr marL="95995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6C6E69-321F-D4AD-8DE6-1E8BDA9990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8F815C-F7BD-B743-55F1-819C90566A6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FE394A0-1BF5-A207-62B2-624B902703EF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42F71C-985A-E2BB-6FBF-54A07A91DCC3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362F7ED-C2A3-E1DD-8729-A9B3A2660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26512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4 Bulletpoint text 1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AA8973-ED90-DA21-18C7-5D6E292CC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4D957F-E5DE-27F8-AACE-C02FAE5A4250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281E37-10DE-9743-87A9-A079EEC7D36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380BE7-EF71-135D-FC9B-9D9C4CFD066E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0701039-6E84-E6CE-7E91-BAB5836AA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9743830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65A33369-0857-4A69-B149-0C632674DA67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82370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5 Bulletpoint text 2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988706-2E03-4A9C-79F3-2E7AE15E6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B1039B-CAD1-E7A1-9A8E-421F00BB27A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A31894B-2ADC-F353-515E-61B978FE204D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5288A7-E819-08AD-0192-BAB1AB7959D8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5176F92-BBFE-DBC8-EAB4-685F805E3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310062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6 Bulletpoint text 3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1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AB306A2-2949-7644-5CCE-6B01F3600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FAD2D5-5981-9B4A-69C8-3901DF8F846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FBD0FB5-5841-7798-81F7-03203504ECC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2EBFFC-4C2D-D007-FA55-966B1047852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024A70A-45FE-D443-B1F3-C03BAFA27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747351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7 Bulletpoint text 4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5E782D2-17EB-7305-867D-635CABCFC8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EB6067-6AAF-DE7E-E481-757CDC1CC59F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C92C61F-FD93-073C-AFAA-3629762CCB45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3E1782-7EA3-5D5C-4FB2-290A89A7E3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22E3335-8FF0-0584-6655-EE052F072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2551708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8 Numbered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84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bg1"/>
                </a:solidFill>
              </a:defRPr>
            </a:lvl1pPr>
            <a:lvl2pPr marL="544773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bg1"/>
                </a:solidFill>
              </a:defRPr>
            </a:lvl2pPr>
            <a:lvl3pPr marL="784760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bg1"/>
                </a:solidFill>
              </a:defRPr>
            </a:lvl3pPr>
            <a:lvl4pPr marL="1024749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bg1"/>
                </a:solidFill>
              </a:defRPr>
            </a:lvl4pPr>
            <a:lvl5pPr marL="1276136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36" marR="0" lvl="4" indent="-3047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27D84-480B-22A7-4B2A-BFD3AB9191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8B0B3F-161E-8508-3B23-007FE1624352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9F8CB66-4F0D-7F21-56F6-56AAA5C0222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760B86-74B6-48A3-CE6D-96096653BF7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D20D035-9F8D-A232-B41B-0EC79F115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199078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9 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E545D7-2373-D9BF-1A5C-DDEF3299CD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1221AC1C-1EF4-5D9A-A440-017C6D790A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AD1F5B-D865-3F9F-4D96-58C6DD62ECDF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624C8-71C7-7928-25B9-5352C8FD2EB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75E4B3-EDD4-C5F1-7EF2-8B6126FAC2F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34E36D38-263C-DBB6-A0D4-5E9785455C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061893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10 Title slide with media 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292656-5749-2B4B-FA27-42765BDE3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5" name="Text Placeholder 42">
            <a:extLst>
              <a:ext uri="{FF2B5EF4-FFF2-40B4-BE49-F238E27FC236}">
                <a16:creationId xmlns:a16="http://schemas.microsoft.com/office/drawing/2014/main" id="{4F756C8B-0244-6A11-8EC3-4A1D203CDD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759CC4-69C8-613F-E557-4E2AEE7B75E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0A76AB-576F-2C48-7ED4-0E98A54B99AD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253AE-3DDB-8C8A-399D-C55C49CB083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DC17B7D-4E9B-5FAC-1228-C97FB1CFC5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7088554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11 Title slide with media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41FE85-3CE7-12FA-3841-D7CC0ABB65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418BB1-0E7E-AAD3-AD71-82204464918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B48A79-625E-B973-DCD8-533E86F25072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9A4E9B-BED0-504E-628D-EAD882C392A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742AC6DC-CFBE-F98E-4CC4-2390702BA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15554639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12 Title slide with media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2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1E3056-42DC-BA9B-F46D-475E5BE32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681D21-FC7E-7F82-9685-4F1EF53B236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BEFAD-5693-7A1A-A64F-C540D390A0B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40E574-42A1-50DE-BFA2-D52D3D35902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DEF2D02-B6B9-E747-F0EA-9ED48DC28C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8363519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3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1pPr>
            <a:lvl2pPr marL="23998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2pPr>
            <a:lvl3pPr marL="47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3pPr>
            <a:lvl4pPr marL="71996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4pPr>
            <a:lvl5pPr marL="95995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6C6E69-321F-D4AD-8DE6-1E8BDA9990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8F815C-F7BD-B743-55F1-819C90566A6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FE394A0-1BF5-A207-62B2-624B902703EF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42F71C-985A-E2BB-6FBF-54A07A91DCC3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362F7ED-C2A3-E1DD-8729-A9B3A2660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9593790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4 Bulletpoint text 1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AA8973-ED90-DA21-18C7-5D6E292CC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4D957F-E5DE-27F8-AACE-C02FAE5A4250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281E37-10DE-9743-87A9-A079EEC7D36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380BE7-EF71-135D-FC9B-9D9C4CFD066E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0701039-6E84-E6CE-7E91-BAB5836AA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449277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08ABD16C-E765-46AF-973B-FA5B94BA6EF2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82472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5 Bulletpoint text 2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988706-2E03-4A9C-79F3-2E7AE15E6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B1039B-CAD1-E7A1-9A8E-421F00BB27A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A31894B-2ADC-F353-515E-61B978FE204D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5288A7-E819-08AD-0192-BAB1AB7959D8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5176F92-BBFE-DBC8-EAB4-685F805E3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58182370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6 Bulletpoint text 3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1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AB306A2-2949-7644-5CCE-6B01F3600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FAD2D5-5981-9B4A-69C8-3901DF8F846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FBD0FB5-5841-7798-81F7-03203504ECC7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2EBFFC-4C2D-D007-FA55-966B1047852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024A70A-45FE-D443-B1F3-C03BAFA27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47753642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7 Bulletpoint text 4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5E782D2-17EB-7305-867D-635CABCFC8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EB6067-6AAF-DE7E-E481-757CDC1CC59F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C92C61F-FD93-073C-AFAA-3629762CCB45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3E1782-7EA3-5D5C-4FB2-290A89A7E3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22E3335-8FF0-0584-6655-EE052F072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1066649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8 Numbered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84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bg1"/>
                </a:solidFill>
              </a:defRPr>
            </a:lvl1pPr>
            <a:lvl2pPr marL="544773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bg1"/>
                </a:solidFill>
              </a:defRPr>
            </a:lvl2pPr>
            <a:lvl3pPr marL="784760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bg1"/>
                </a:solidFill>
              </a:defRPr>
            </a:lvl3pPr>
            <a:lvl4pPr marL="1024749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bg1"/>
                </a:solidFill>
              </a:defRPr>
            </a:lvl4pPr>
            <a:lvl5pPr marL="1276136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36" marR="0" lvl="4" indent="-3047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27D84-480B-22A7-4B2A-BFD3AB9191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8B0B3F-161E-8508-3B23-007FE1624352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9F8CB66-4F0D-7F21-56F6-56AAA5C02227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760B86-74B6-48A3-CE6D-96096653BF7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D20D035-9F8D-A232-B41B-0EC79F115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6790305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3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1pPr>
            <a:lvl2pPr marL="23999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2pPr>
            <a:lvl3pPr marL="479988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3pPr>
            <a:lvl4pPr marL="71998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4pPr>
            <a:lvl5pPr marL="95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6C6E69-321F-D4AD-8DE6-1E8BDA9990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8F815C-F7BD-B743-55F1-819C90566A6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FE394A0-1BF5-A207-62B2-624B902703EF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42F71C-985A-E2BB-6FBF-54A07A91DCC3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362F7ED-C2A3-E1DD-8729-A9B3A2660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8424018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4 Bulletpoint text 1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AA8973-ED90-DA21-18C7-5D6E292CC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4D957F-E5DE-27F8-AACE-C02FAE5A4250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281E37-10DE-9743-87A9-A079EEC7D36E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380BE7-EF71-135D-FC9B-9D9C4CFD066E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0701039-6E84-E6CE-7E91-BAB5836AA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01171943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5 Bulletpoint text 2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988706-2E03-4A9C-79F3-2E7AE15E6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B1039B-CAD1-E7A1-9A8E-421F00BB27A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A31894B-2ADC-F353-515E-61B978FE204D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5288A7-E819-08AD-0192-BAB1AB7959D8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5176F92-BBFE-DBC8-EAB4-685F805E3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57263204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6 Bulletpoint text 3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0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AB306A2-2949-7644-5CCE-6B01F3600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FAD2D5-5981-9B4A-69C8-3901DF8F846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FBD0FB5-5841-7798-81F7-03203504ECC7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2EBFFC-4C2D-D007-FA55-966B1047852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024A70A-45FE-D443-B1F3-C03BAFA27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6737181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7 Bulletpoint text 4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5E782D2-17EB-7305-867D-635CABCFC8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EB6067-6AAF-DE7E-E481-757CDC1CC59F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C92C61F-FD93-073C-AFAA-3629762CCB45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3E1782-7EA3-5D5C-4FB2-290A89A7E3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22E3335-8FF0-0584-6655-EE052F072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7903069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8 Numbered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92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bg1"/>
                </a:solidFill>
              </a:defRPr>
            </a:lvl1pPr>
            <a:lvl2pPr marL="544786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bg1"/>
                </a:solidFill>
              </a:defRPr>
            </a:lvl2pPr>
            <a:lvl3pPr marL="784780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bg1"/>
                </a:solidFill>
              </a:defRPr>
            </a:lvl3pPr>
            <a:lvl4pPr marL="1024774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bg1"/>
                </a:solidFill>
              </a:defRPr>
            </a:lvl4pPr>
            <a:lvl5pPr marL="1276168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68" marR="0" lvl="4" indent="-30479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27D84-480B-22A7-4B2A-BFD3AB9191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8B0B3F-161E-8508-3B23-007FE1624352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9F8CB66-4F0D-7F21-56F6-56AAA5C02227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760B86-74B6-48A3-CE6D-96096653BF7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D20D035-9F8D-A232-B41B-0EC79F115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8094325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58019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4599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6D89ABA-1EAA-4ECA-84EC-354B0850435C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0233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9 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E545D7-2373-D9BF-1A5C-DDEF3299CD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1221AC1C-1EF4-5D9A-A440-017C6D790A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AD1F5B-D865-3F9F-4D96-58C6DD62ECDF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624C8-71C7-7928-25B9-5352C8FD2EBB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75E4B3-EDD4-C5F1-7EF2-8B6126FAC2F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34E36D38-263C-DBB6-A0D4-5E9785455C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319606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5213179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147" y="6478073"/>
            <a:ext cx="3840000" cy="163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609585" rtl="0" eaLnBrk="1" latinLnBrk="0" hangingPunct="1">
              <a:defRPr lang="en-GB" sz="1067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 confidentia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7FF23FE-4D10-4C29-7B09-1D707687BDB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24540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7.2 - Divider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FBBDEB0-7315-4214-F9C8-48DBCC502C8E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976F6A6-5835-91B8-5B94-A197DCCF65D7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146445DD-AC0A-C4BA-03CB-A346CF3E9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147" y="6478073"/>
            <a:ext cx="3840000" cy="163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609585" rtl="0" eaLnBrk="1" latinLnBrk="0" hangingPunct="1">
              <a:defRPr lang="en-GB" sz="1067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ED3C240-0F31-AD4B-E3D6-E9E2DFC4EB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0" y="4215295"/>
            <a:ext cx="11078400" cy="1477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35493C-0314-59F4-3E99-CA50A71C90C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17128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10 Title slide with media 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292656-5749-2B4B-FA27-42765BDE3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5" name="Text Placeholder 42">
            <a:extLst>
              <a:ext uri="{FF2B5EF4-FFF2-40B4-BE49-F238E27FC236}">
                <a16:creationId xmlns:a16="http://schemas.microsoft.com/office/drawing/2014/main" id="{4F756C8B-0244-6A11-8EC3-4A1D203CDD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759CC4-69C8-613F-E557-4E2AEE7B75E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0A76AB-576F-2C48-7ED4-0E98A54B99AD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253AE-3DDB-8C8A-399D-C55C49CB083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DC17B7D-4E9B-5FAC-1228-C97FB1CFC5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7854326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11 Title slide with media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41FE85-3CE7-12FA-3841-D7CC0ABB65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418BB1-0E7E-AAD3-AD71-82204464918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B48A79-625E-B973-DCD8-533E86F25072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9A4E9B-BED0-504E-628D-EAD882C392A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742AC6DC-CFBE-F98E-4CC4-2390702BA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19328528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12 Title slide with media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1E3056-42DC-BA9B-F46D-475E5BE32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681D21-FC7E-7F82-9685-4F1EF53B236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BEFAD-5693-7A1A-A64F-C540D390A0B8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40E574-42A1-50DE-BFA2-D52D3D35902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DEF2D02-B6B9-E747-F0EA-9ED48DC28C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654702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 Title slide with media 4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1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9A3CCB-3818-87A8-9032-448C77F620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08539B-21D0-85E7-AB77-143ABD40EEB1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76E50B-EEF8-724F-1802-0488D70A46F4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C0E722-8D59-61D9-391E-65CCE154F81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CF5A558-51C2-73A4-9D8C-5A3B7422BE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17212962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1EF87F37-41EC-F109-B4C3-D44EE53A0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32AC0D-5511-1F2D-2A28-C259AC8BC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B10A0F-2286-895A-B579-CB5D4386A2B7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AD2976-396D-426A-A7C0-2D53F71491E3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2538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201"/>
            <a:ext cx="6859200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AA40532-F231-EBBB-A8D3-3657B33CB9DA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509789C-1FE5-7B11-DD63-34E6F72F670E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1D3EB5E-6B70-AA5A-4340-53F0E0A06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9AF4C-BE87-2184-CAE5-F141A4F93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44090306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3045E81-706E-BB14-3DDB-AC56D9F33518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E5D1B-6D7F-C600-7828-022D4F5709B7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F0180981-7B7F-4D9A-87AD-9608572279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C555545-3487-5A2F-B887-81AE17C806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6059890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7416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7416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1F871514-3FFB-4545-AC1B-76A2EBFFE5D0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23504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11 Title slide with media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41FE85-3CE7-12FA-3841-D7CC0ABB65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418BB1-0E7E-AAD3-AD71-82204464918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B48A79-625E-B973-DCD8-533E86F25072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9A4E9B-BED0-504E-628D-EAD882C392A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742AC6DC-CFBE-F98E-4CC4-2390702BA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531083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12 Title slide with media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2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1E3056-42DC-BA9B-F46D-475E5BE32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681D21-FC7E-7F82-9685-4F1EF53B236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BEFAD-5693-7A1A-A64F-C540D390A0B8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40E574-42A1-50DE-BFA2-D52D3D35902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DEF2D02-B6B9-E747-F0EA-9ED48DC28C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3429504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13 Title slide with media 4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2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9A3CCB-3818-87A8-9032-448C77F620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08539B-21D0-85E7-AB77-143ABD40EEB1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76E50B-EEF8-724F-1802-0488D70A46F4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C0E722-8D59-61D9-391E-65CCE154F81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CF5A558-51C2-73A4-9D8C-5A3B7422BE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5448072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1EF87F37-41EC-F109-B4C3-D44EE53A0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32AC0D-5511-1F2D-2A28-C259AC8BC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B10A0F-2286-895A-B579-CB5D4386A2B7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AD2976-396D-426A-A7C0-2D53F71491E3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3182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201"/>
            <a:ext cx="6859200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AA40532-F231-EBBB-A8D3-3657B33CB9DA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509789C-1FE5-7B11-DD63-34E6F72F670E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1D3EB5E-6B70-AA5A-4340-53F0E0A06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9AF4C-BE87-2184-CAE5-F141A4F93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44798339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3045E81-706E-BB14-3DDB-AC56D9F33518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E5D1B-6D7F-C600-7828-022D4F5709B7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F0180981-7B7F-4D9A-87AD-9608572279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C555545-3487-5A2F-B887-81AE17C806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4093510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-120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F7AE0E-D196-9918-5EDB-E9F6D1F5BFCD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E77B206-49F7-2B3D-46F6-5783EB06549D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CDCE65-9D09-8014-E0D4-FA37C5A409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50AD0AE-26A9-7041-BAC9-7726260DC4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7509393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A3B12B3-A799-7EB4-75DA-BC0A7D701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EDD8338-5A64-469A-E2DB-DF91FC1856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B79C81-C7D6-4DE3-0A04-D7E02DD8C66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910EA0-FECD-D7DE-120C-8BC301ED58FF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265087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647D8A-35E4-5375-137D-AE3FBB59F9F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7E9E3A5-43FE-813E-B36E-00A287E16B3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CA265AEB-E893-7C5A-2089-F8668DD28E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9A21839-5A3E-48C8-8C8A-66E6CF919C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9901175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54EB9F-8927-A3FE-8B84-2A5DA2E7EB1F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1049C86-481E-BCA9-382A-A561EA22CA19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06AC820-889D-342D-C4F1-65579046FE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8C0E4A4-2F9E-C493-382A-9CBF0ED8AD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744533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57448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9839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57448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39839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67512" y="-15239"/>
            <a:ext cx="10515600" cy="944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17EB5F1-4A77-49FA-BAEA-C62662BE9EBF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8483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084"/>
          <a:stretch/>
        </p:blipFill>
        <p:spPr>
          <a:xfrm>
            <a:off x="6835702" y="0"/>
            <a:ext cx="53563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7A7115-EA83-4FF6-C9AA-23524B051F6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832A1-1A29-5A85-3CD7-02108B35D949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2EB43E8F-27C8-8759-7A98-CAA935E78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8D2D46-B066-616E-7306-CE64233C7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74936015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90358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8B4807D-C6CB-B42F-7CAC-4B1E0264A613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A5600B8-EF33-4C46-87E9-1A51B9580A90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BF972D4-3000-87A0-9E6C-C622A2B7C6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5958420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797EE9-5364-FAE7-B29C-8C7E9DCF2A6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674039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Life in the fast lane</a:t>
            </a:r>
          </a:p>
        </p:txBody>
      </p:sp>
    </p:spTree>
    <p:extLst>
      <p:ext uri="{BB962C8B-B14F-4D97-AF65-F5344CB8AC3E}">
        <p14:creationId xmlns:p14="http://schemas.microsoft.com/office/powerpoint/2010/main" val="358749290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B2D474A-4156-5445-2C99-EE4C77388F5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A5D471E-8C81-0943-5022-F263A707E608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024AFDB3-6F7B-B778-402E-9CCB281E4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3B31AA-DB5D-E4EE-AD2B-9C376313D5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56074310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6622168" y="0"/>
            <a:ext cx="5569832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A4D82E9-DEF8-D842-DDB5-563D618E794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B92B7B9-0B45-FE4B-753A-4D8C0E23E619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838942B2-5BE5-A3D6-4570-6AF07089F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51E6336-7A1E-2850-2562-4FDD760F4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6714231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34031B42-8ACF-0D61-11C0-959766C8B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2482053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2.2 Title dark">
    <p:bg>
      <p:bgPr>
        <a:gradFill>
          <a:gsLst>
            <a:gs pos="53100">
              <a:schemeClr val="accent1">
                <a:lumMod val="59000"/>
              </a:schemeClr>
            </a:gs>
            <a:gs pos="0">
              <a:schemeClr val="tx1">
                <a:lumMod val="96000"/>
              </a:schemeClr>
            </a:gs>
            <a:gs pos="100000">
              <a:schemeClr val="accent1">
                <a:lumMod val="30000"/>
              </a:schemeClr>
            </a:gs>
          </a:gsLst>
          <a:lin ang="12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 Placeholder 42">
            <a:extLst>
              <a:ext uri="{FF2B5EF4-FFF2-40B4-BE49-F238E27FC236}">
                <a16:creationId xmlns:a16="http://schemas.microsoft.com/office/drawing/2014/main" id="{65BB4E9F-2E29-3042-C3C2-66B30120BB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</p:spTree>
    <p:extLst>
      <p:ext uri="{BB962C8B-B14F-4D97-AF65-F5344CB8AC3E}">
        <p14:creationId xmlns:p14="http://schemas.microsoft.com/office/powerpoint/2010/main" val="183459179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0390628D-EDCB-823F-3281-E26163D5C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09200181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64CD9D7-6169-977F-2770-ADEC0D6EE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666C31-62D7-CEFA-FFA5-6E39B2A9667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E83870-7680-0EC5-A60C-DDC82D20159B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3FD35A0-F98B-4E10-5EEB-CC206A99D77A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26AEA66-94E0-CBBE-2810-477A8B621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6291343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BF77242-1944-4C4E-A110-A7092BB5B3B4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99674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8A36BB1-1CB4-70E4-B774-36E6FFADAD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907574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0006201F-5816-C391-0FF2-7B730063C1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</p:spTree>
    <p:extLst>
      <p:ext uri="{BB962C8B-B14F-4D97-AF65-F5344CB8AC3E}">
        <p14:creationId xmlns:p14="http://schemas.microsoft.com/office/powerpoint/2010/main" val="91681089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C60B55E3-C61F-0403-A878-5F9E203C5E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19078394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282CE96B-0BCB-98A4-50DC-39176D0092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294544-7EC4-ED46-6173-E3A78AF1175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7137A-1370-497D-30A9-2885B2A47AC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D3533A-70F3-8B04-C0F5-CF1FD375FCE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D15844B-56C3-0508-2515-0AFFA9A8C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60728331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88F393-2D04-17D9-4E30-1DA2DAE984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9E2A26AA-E546-94FD-6AC0-F57B2DDC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56821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EF1F7D3B-D3A1-0B66-4DFD-A89A8D4E2B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A85DB6D6-86FE-E33C-DC95-D455C2CE5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112295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C60B55E3-C61F-0403-A878-5F9E203C5E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63595418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282CE96B-0BCB-98A4-50DC-39176D0092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294544-7EC4-ED46-6173-E3A78AF1175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7137A-1370-497D-30A9-2885B2A47AC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D3533A-70F3-8B04-C0F5-CF1FD375FCE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D15844B-56C3-0508-2515-0AFFA9A8C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4950649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88F393-2D04-17D9-4E30-1DA2DAE984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9E2A26AA-E546-94FD-6AC0-F57B2DDC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11607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EF1F7D3B-D3A1-0B66-4DFD-A89A8D4E2B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A85DB6D6-86FE-E33C-DC95-D455C2CE5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31101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FE7ACF8-B0AB-4A34-93B9-34310FA242ED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8449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C60B55E3-C61F-0403-A878-5F9E203C5E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3725262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282CE96B-0BCB-98A4-50DC-39176D0092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294544-7EC4-ED46-6173-E3A78AF1175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7137A-1370-497D-30A9-2885B2A47AC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D3533A-70F3-8B04-C0F5-CF1FD375FCE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D15844B-56C3-0508-2515-0AFFA9A8C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79413309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88F393-2D04-17D9-4E30-1DA2DAE984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9E2A26AA-E546-94FD-6AC0-F57B2DDC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5313433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EF1F7D3B-D3A1-0B66-4DFD-A89A8D4E2B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A85DB6D6-86FE-E33C-DC95-D455C2CE5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4273056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BE9A67A-102A-E929-31E0-F0D0CC335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3B58AAF-D8C1-9617-A5D4-CDC9402055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82396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17B48FF2-DF34-2D2C-9133-C56D767AEE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1375FC76-C462-9A2E-C6F5-6A7526FD32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091798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C8F3BE-DF4E-616F-9E87-42409E45FB76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FA5559B-7244-EAEC-5F81-57659F88355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F766CE-D4C5-BFE0-469A-326AD36F781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ACCA25F-B787-0F46-0666-1B57C451A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81A83BE-92CB-A003-33CB-370A0B1FED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766979B-27F4-3832-C379-C7CE5504E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85529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471E5928-FBC9-0326-5B1E-1C9FC59A8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FA5AC387-E045-8C0B-0800-541E816FDF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3344443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17B48FF2-DF34-2D2C-9133-C56D767AEE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1375FC76-C462-9A2E-C6F5-6A7526FD32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2600540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C8F3BE-DF4E-616F-9E87-42409E45FB76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FA5559B-7244-EAEC-5F81-57659F88355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F766CE-D4C5-BFE0-469A-326AD36F781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ACCA25F-B787-0F46-0666-1B57C451A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81A83BE-92CB-A003-33CB-370A0B1FED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766979B-27F4-3832-C379-C7CE5504E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5553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8F7D72-0B54-48B0-CA3C-7D0AE681FA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8DB607-74BA-7D70-A705-7AC99ACB20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E2BB31-B88A-E84B-84E1-5677765CD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C99D30-70D5-423D-ADB9-04BA8838E6C9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5EA92-0B72-3E38-C9B1-0DA5F1847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ED9AE6-B9B3-9FE8-FA33-526193B15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78185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471E5928-FBC9-0326-5B1E-1C9FC59A8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FA5AC387-E045-8C0B-0800-541E816FDF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1702412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17B48FF2-DF34-2D2C-9133-C56D767AEE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1375FC76-C462-9A2E-C6F5-6A7526FD32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3645791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C8F3BE-DF4E-616F-9E87-42409E45FB76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FA5559B-7244-EAEC-5F81-57659F883556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F766CE-D4C5-BFE0-469A-326AD36F781C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ACCA25F-B787-0F46-0666-1B57C451A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81A83BE-92CB-A003-33CB-370A0B1FED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766979B-27F4-3832-C379-C7CE5504E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092636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471E5928-FBC9-0326-5B1E-1C9FC59A8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FA5AC387-E045-8C0B-0800-541E816FDF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1085650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282CE96B-0BCB-98A4-50DC-39176D0092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</p:spTree>
    <p:extLst>
      <p:ext uri="{BB962C8B-B14F-4D97-AF65-F5344CB8AC3E}">
        <p14:creationId xmlns:p14="http://schemas.microsoft.com/office/powerpoint/2010/main" val="291665455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20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-120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200"/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F7AE0E-D196-9918-5EDB-E9F6D1F5BFCD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E77B206-49F7-2B3D-46F6-5783EB06549D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CDCE65-9D09-8014-E0D4-FA37C5A409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50AD0AE-26A9-7041-BAC9-7726260DC4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95908453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A3B12B3-A799-7EB4-75DA-BC0A7D701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EDD8338-5A64-469A-E2DB-DF91FC1856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B79C81-C7D6-4DE3-0A04-D7E02DD8C66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910EA0-FECD-D7DE-120C-8BC301ED58FF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4939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647D8A-35E4-5375-137D-AE3FBB59F9F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7E9E3A5-43FE-813E-B36E-00A287E16B3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CA265AEB-E893-7C5A-2089-F8668DD28E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9A21839-5A3E-48C8-8C8A-66E6CF919C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61675247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54EB9F-8927-A3FE-8B84-2A5DA2E7EB1F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1049C86-481E-BCA9-382A-A561EA22CA19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06AC820-889D-342D-C4F1-65579046FE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8C0E4A4-2F9E-C493-382A-9CBF0ED8AD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55526946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084"/>
          <a:stretch/>
        </p:blipFill>
        <p:spPr>
          <a:xfrm>
            <a:off x="6835701" y="0"/>
            <a:ext cx="53563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7A7115-EA83-4FF6-C9AA-23524B051F6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832A1-1A29-5A85-3CD7-02108B35D949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2EB43E8F-27C8-8759-7A98-CAA935E78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8D2D46-B066-616E-7306-CE64233C7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271273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88FB6-329F-4EFA-AE17-D16F90F6F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72B845-204D-438A-918C-74DAA6B111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27E122-1120-426B-BBC9-5D8002D0C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42D86-1EAC-4470-96E9-A4E3B9760D1A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52432-8E1C-4A65-B062-EF52AF2A7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A3765C-9ED1-43A0-8087-7F7AC16FF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967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90C244-C0F5-472E-D3EC-F6154C334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5A267E-0A52-1562-59D4-2C9A184B74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1BD946-174B-0133-AA52-7C1E10EF5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6B5D1-D532-4A34-BC71-F1645763B6BB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8D5F6D-B8DD-B4D0-405D-C4FADD9B3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8E5FA2-FFB4-0D84-5435-79146CDD3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66140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58273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8B4807D-C6CB-B42F-7CAC-4B1E0264A613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A5600B8-EF33-4C46-87E9-1A51B9580A90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BF972D4-3000-87A0-9E6C-C622A2B7C6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46728338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797EE9-5364-FAE7-B29C-8C7E9DCF2A6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674038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Life in the fast lane</a:t>
            </a:r>
          </a:p>
        </p:txBody>
      </p:sp>
    </p:spTree>
    <p:extLst>
      <p:ext uri="{BB962C8B-B14F-4D97-AF65-F5344CB8AC3E}">
        <p14:creationId xmlns:p14="http://schemas.microsoft.com/office/powerpoint/2010/main" val="354053412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B2D474A-4156-5445-2C99-EE4C77388F5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A5D471E-8C81-0943-5022-F263A707E60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024AFDB3-6F7B-B778-402E-9CCB281E4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3B31AA-DB5D-E4EE-AD2B-9C376313D5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06753377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6622168" y="0"/>
            <a:ext cx="5569832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A4D82E9-DEF8-D842-DDB5-563D618E794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B92B7B9-0B45-FE4B-753A-4D8C0E23E619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838942B2-5BE5-A3D6-4570-6AF07089F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51E6336-7A1E-2850-2562-4FDD760F4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82533139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34031B42-8ACF-0D61-11C0-959766C8B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73923027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-120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F7AE0E-D196-9918-5EDB-E9F6D1F5BFCD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E77B206-49F7-2B3D-46F6-5783EB06549D}"/>
              </a:ext>
            </a:extLst>
          </p:cNvPr>
          <p:cNvSpPr txBox="1">
            <a:spLocks/>
          </p:cNvSpPr>
          <p:nvPr userDrawn="1"/>
        </p:nvSpPr>
        <p:spPr>
          <a:xfrm>
            <a:off x="10445185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CDCE65-9D09-8014-E0D4-FA37C5A409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50AD0AE-26A9-7041-BAC9-7726260DC4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86163620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A3B12B3-A799-7EB4-75DA-BC0A7D701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EDD8338-5A64-469A-E2DB-DF91FC1856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B79C81-C7D6-4DE3-0A04-D7E02DD8C66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910EA0-FECD-D7DE-120C-8BC301ED58FF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2265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647D8A-35E4-5375-137D-AE3FBB59F9F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7E9E3A5-43FE-813E-B36E-00A287E16B3E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CA265AEB-E893-7C5A-2089-F8668DD28E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9A21839-5A3E-48C8-8C8A-66E6CF919C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18786696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54EB9F-8927-A3FE-8B84-2A5DA2E7EB1F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1049C86-481E-BCA9-382A-A561EA22CA19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06AC820-889D-342D-C4F1-65579046FE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8C0E4A4-2F9E-C493-382A-9CBF0ED8AD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7756600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6DFA4-4494-F6D7-419F-91285845E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956815-94E9-80BD-0C24-3955187A24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376A1D-F5B5-54A5-D767-E3F12386C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AC595-6A21-4570-8360-B7B40D97DCEB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0E74EE-5C11-CA52-5733-2EEE83265C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914C4B-46B9-EEDA-D3C0-256E916C4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74836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084"/>
          <a:stretch/>
        </p:blipFill>
        <p:spPr>
          <a:xfrm>
            <a:off x="6835701" y="0"/>
            <a:ext cx="53563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7A7115-EA83-4FF6-C9AA-23524B051F6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832A1-1A29-5A85-3CD7-02108B35D949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2EB43E8F-27C8-8759-7A98-CAA935E78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0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8D2D46-B066-616E-7306-CE64233C7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3120001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18319247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60756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8B4807D-C6CB-B42F-7CAC-4B1E0264A613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A5600B8-EF33-4C46-87E9-1A51B9580A90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BF972D4-3000-87A0-9E6C-C622A2B7C6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39851745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797EE9-5364-FAE7-B29C-8C7E9DCF2A6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674038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Life in the fast lane</a:t>
            </a:r>
          </a:p>
        </p:txBody>
      </p:sp>
    </p:spTree>
    <p:extLst>
      <p:ext uri="{BB962C8B-B14F-4D97-AF65-F5344CB8AC3E}">
        <p14:creationId xmlns:p14="http://schemas.microsoft.com/office/powerpoint/2010/main" val="196032740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B2D474A-4156-5445-2C99-EE4C77388F5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A5D471E-8C81-0943-5022-F263A707E608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024AFDB3-6F7B-B778-402E-9CCB281E4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3B31AA-DB5D-E4EE-AD2B-9C376313D5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1103448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6622168" y="0"/>
            <a:ext cx="5569832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1" y="3224292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A4D82E9-DEF8-D842-DDB5-563D618E794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B92B7B9-0B45-FE4B-753A-4D8C0E23E619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838942B2-5BE5-A3D6-4570-6AF07089F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51E6336-7A1E-2850-2562-4FDD760F4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52310953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Gree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55105073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4706158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230917562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28152032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E2AC2C-3CA5-1AF3-7BF8-CDA660EAA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107544-EF4B-5C26-EEC5-7E6D3B035F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433D2F-039A-DCBE-7366-FB04006AD2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76F7A4-4E8F-14B4-9F9F-562A70EAC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47D74C-2120-4C69-B682-9ED7A4761917}" type="datetime1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C78BCB-CC93-060D-0B23-54393EA6B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6F74C5-D429-AF0D-DFC0-A15485F8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67341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Orange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369934045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359177628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Gree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66044848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Blue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55906545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46778459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74707163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Orange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437836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Blue 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9836415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84539876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590647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3C7C6-27E6-7C34-92D8-A9482909C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6C24F6-8EBC-C218-A3E2-4CBAB51819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637726-8581-3A33-2613-CBA97FADC3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35FE6D-7B6F-76F0-8A8D-C563941EC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A3BD51-5DBD-6FC1-FDC1-96B160484D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CCF087-8D8D-7B64-055C-4470CC193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2CF42-2F2D-424A-BAE6-C8827E555745}" type="datetime1">
              <a:rPr lang="en-US" smtClean="0"/>
              <a:t>6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A52B346-0F63-F53C-B2D5-B2032AC11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85E600-33C2-6622-BFE5-B3A9D1441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36850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365074080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.3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4797943-0794-42BB-A5A2-5F7947FE1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D82EEC-62DA-4206-A14F-3C37A36EE033}"/>
              </a:ext>
            </a:extLst>
          </p:cNvPr>
          <p:cNvSpPr txBox="1"/>
          <p:nvPr userDrawn="1"/>
        </p:nvSpPr>
        <p:spPr>
          <a:xfrm>
            <a:off x="1007701" y="6421172"/>
            <a:ext cx="2400000" cy="16421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1067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795313C-2E8E-414B-8DD8-B308C596E634}"/>
              </a:ext>
            </a:extLst>
          </p:cNvPr>
          <p:cNvSpPr txBox="1">
            <a:spLocks/>
          </p:cNvSpPr>
          <p:nvPr userDrawn="1"/>
        </p:nvSpPr>
        <p:spPr>
          <a:xfrm>
            <a:off x="558803" y="6421388"/>
            <a:ext cx="336000" cy="164212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A058C78B-B74D-4BDE-A42E-2FA5F58DCE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72000" y="6422400"/>
            <a:ext cx="6048000" cy="16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okia Confidential - FN LT Meeting - May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CAB653-0B58-AB04-C3E0-AA1B85F84B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629401"/>
            <a:ext cx="1935648" cy="20108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5EDF2D1-57C9-C64D-7091-8B58D11F32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96439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2444423" y="2606652"/>
            <a:ext cx="7303155" cy="164469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</p:spTree>
    <p:extLst>
      <p:ext uri="{BB962C8B-B14F-4D97-AF65-F5344CB8AC3E}">
        <p14:creationId xmlns:p14="http://schemas.microsoft.com/office/powerpoint/2010/main" val="172057372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9" y="2179566"/>
            <a:ext cx="5213179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147" y="6478073"/>
            <a:ext cx="3840000" cy="163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609570" rtl="0" eaLnBrk="1" latinLnBrk="0" hangingPunct="1">
              <a:defRPr lang="en-GB" sz="1067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7FF23FE-4D10-4C29-7B09-1D707687BDB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849529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1.3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4797943-0794-42BB-A5A2-5F7947FE1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D82EEC-62DA-4206-A14F-3C37A36EE033}"/>
              </a:ext>
            </a:extLst>
          </p:cNvPr>
          <p:cNvSpPr txBox="1"/>
          <p:nvPr userDrawn="1"/>
        </p:nvSpPr>
        <p:spPr>
          <a:xfrm>
            <a:off x="1007701" y="6421173"/>
            <a:ext cx="2400000" cy="16421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1067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795313C-2E8E-414B-8DD8-B308C596E634}"/>
              </a:ext>
            </a:extLst>
          </p:cNvPr>
          <p:cNvSpPr txBox="1">
            <a:spLocks/>
          </p:cNvSpPr>
          <p:nvPr userDrawn="1"/>
        </p:nvSpPr>
        <p:spPr>
          <a:xfrm>
            <a:off x="558803" y="6421389"/>
            <a:ext cx="336000" cy="16421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A058C78B-B74D-4BDE-A42E-2FA5F58DCE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72000" y="6422400"/>
            <a:ext cx="6048000" cy="16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okia Confidential - FN LT Meeting - May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CAB653-0B58-AB04-C3E0-AA1B85F84B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629402"/>
            <a:ext cx="1935648" cy="20108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5EDF2D1-57C9-C64D-7091-8B58D11F32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64513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8A36BB1-1CB4-70E4-B774-36E6FFADAD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75430338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18240975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96165362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.13 Title slide with media 4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1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9A3CCB-3818-87A8-9032-448C77F620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08539B-21D0-85E7-AB77-143ABD40EEB1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76E50B-EEF8-724F-1802-0488D70A46F4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0300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C0E722-8D59-61D9-391E-65CCE154F81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CF5A558-51C2-73A4-9D8C-5A3B7422BE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7267672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1EF87F37-41EC-F109-B4C3-D44EE53A0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32AC0D-5511-1F2D-2A28-C259AC8BC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B10A0F-2286-895A-B579-CB5D4386A2B7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AD2976-396D-426A-A7C0-2D53F71491E3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9771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302C4-DBD3-CA45-6BCE-92FAED22B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87A456-3C18-5E71-9361-460A576C0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0C2C9B-EC95-44AF-BB84-E61E65715504}" type="datetime1">
              <a:rPr lang="en-US" smtClean="0"/>
              <a:t>6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BADAE-2130-184A-071D-604CE82B9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FE44BC-F0AA-4862-55E7-8864D75A4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2320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201"/>
            <a:ext cx="6859200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AA40532-F231-EBBB-A8D3-3657B33CB9DA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509789C-1FE5-7B11-DD63-34E6F72F670E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1D3EB5E-6B70-AA5A-4340-53F0E0A06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9AF4C-BE87-2184-CAE5-F141A4F93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4417957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1" y="5976900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3045E81-706E-BB14-3DDB-AC56D9F33518}"/>
              </a:ext>
            </a:extLst>
          </p:cNvPr>
          <p:cNvSpPr txBox="1"/>
          <p:nvPr userDrawn="1"/>
        </p:nvSpPr>
        <p:spPr>
          <a:xfrm>
            <a:off x="10793087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E5D1B-6D7F-C600-7828-022D4F5709B7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F0180981-7B7F-4D9A-87AD-9608572279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3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C555545-3487-5A2F-B887-81AE17C806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798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82361433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91273124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9950495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1EF87F37-41EC-F109-B4C3-D44EE53A0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32AC0D-5511-1F2D-2A28-C259AC8BC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B10A0F-2286-895A-B579-CB5D4386A2B7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AD2976-396D-426A-A7C0-2D53F71491E3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5782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201"/>
            <a:ext cx="6859200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AA40532-F231-EBBB-A8D3-3657B33CB9DA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509789C-1FE5-7B11-DD63-34E6F72F670E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1D3EB5E-6B70-AA5A-4340-53F0E0A06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9AF4C-BE87-2184-CAE5-F141A4F93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42374754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859200" cy="6859200"/>
          </a:xfrm>
          <a:prstGeom prst="rect">
            <a:avLst/>
          </a:prstGeom>
        </p:spPr>
      </p:pic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3045E81-706E-BB14-3DDB-AC56D9F33518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E5D1B-6D7F-C600-7828-022D4F5709B7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F0180981-7B7F-4D9A-87AD-9608572279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C555545-3487-5A2F-B887-81AE17C806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36692312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8" y="3224292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1" y="-6395"/>
            <a:ext cx="5356300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5"/>
            <a:ext cx="5213179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8" y="4079614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9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8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77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6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62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54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746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147" y="6478073"/>
            <a:ext cx="3840000" cy="163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609585" rtl="0" eaLnBrk="1" latinLnBrk="0" hangingPunct="1">
              <a:defRPr lang="en-GB" sz="1067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7FF23FE-4D10-4C29-7B09-1D707687BDB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06479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5557" y="0"/>
            <a:ext cx="9942443" cy="1938130"/>
          </a:xfrm>
        </p:spPr>
        <p:txBody>
          <a:bodyPr anchor="b">
            <a:normAutofit/>
          </a:bodyPr>
          <a:lstStyle>
            <a:lvl1pPr algn="l">
              <a:defRPr sz="4000" b="1" baseline="0">
                <a:solidFill>
                  <a:srgbClr val="003C7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5557" y="1938131"/>
            <a:ext cx="9942443" cy="983974"/>
          </a:xfrm>
        </p:spPr>
        <p:txBody>
          <a:bodyPr>
            <a:normAutofit/>
          </a:bodyPr>
          <a:lstStyle>
            <a:lvl1pPr marL="0" indent="0" algn="l">
              <a:buNone/>
              <a:defRPr sz="2400" cap="small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557" y="6356350"/>
            <a:ext cx="2743200" cy="3651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7FB2-492B-4E29-A2B9-10838F426D1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623F53-7E80-41F8-85AC-E47E7B79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488" y="3200401"/>
            <a:ext cx="9942512" cy="8229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udio Informa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1A82A95-1E91-4B3C-8F04-A4A4E622C2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488" y="5104014"/>
            <a:ext cx="2906712" cy="51538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9479093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1313" indent="-341313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804863" indent="-347663">
              <a:lnSpc>
                <a:spcPct val="100000"/>
              </a:lnSpc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-"/>
              <a:defRPr>
                <a:solidFill>
                  <a:schemeClr val="tx1"/>
                </a:solidFill>
              </a:defRPr>
            </a:lvl2pPr>
            <a:lvl3pPr marL="1255713" indent="-341313"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Courier New" panose="02070309020205020404" pitchFamily="49" charset="0"/>
              <a:buChar char="-"/>
              <a:defRPr>
                <a:solidFill>
                  <a:schemeClr val="tx1"/>
                </a:solidFill>
              </a:defRPr>
            </a:lvl3pPr>
            <a:lvl4pPr marL="1719263" indent="-347663">
              <a:lnSpc>
                <a:spcPct val="100000"/>
              </a:lnSpc>
              <a:spcAft>
                <a:spcPts val="600"/>
              </a:spcAft>
              <a:buClr>
                <a:schemeClr val="accent5"/>
              </a:buClr>
              <a:buFont typeface="Courier New" panose="02070309020205020404" pitchFamily="49" charset="0"/>
              <a:buChar char="-"/>
              <a:defRPr>
                <a:solidFill>
                  <a:schemeClr val="tx1"/>
                </a:solidFill>
              </a:defRPr>
            </a:lvl4pPr>
            <a:lvl5pPr marL="2170113" indent="-341313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Font typeface="Courier New" panose="02070309020205020404" pitchFamily="49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60976-FA77-4CED-9B86-5FF71B41B8F1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7FB2-492B-4E29-A2B9-10838F426D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4456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E56861-46A5-DC6A-DD47-402A3487E0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CB6D-3FED-476E-89C4-59A20FF47631}" type="datetime1">
              <a:rPr lang="en-US" smtClean="0"/>
              <a:t>6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FAF55B-5B26-977B-78AC-1D9F569E5A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61B01-D3D0-E117-2969-FE1C99D87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1542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.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2"/>
                </a:solidFill>
              </a:defRPr>
            </a:lvl1pPr>
            <a:lvl2pPr marL="23999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2"/>
                </a:solidFill>
              </a:defRPr>
            </a:lvl2pPr>
            <a:lvl3pPr marL="479988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2"/>
                </a:solidFill>
              </a:defRPr>
            </a:lvl3pPr>
            <a:lvl4pPr marL="71998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2"/>
                </a:solidFill>
              </a:defRPr>
            </a:lvl4pPr>
            <a:lvl5pPr marL="95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A68076-E163-16F0-6643-612506DC25C6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DBD7350-FFE3-8F35-04ED-B83CAB700A0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0300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E90EBC0-49DE-3234-6D8A-7B5E88E2D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147" y="6478073"/>
            <a:ext cx="3840000" cy="163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609585" rtl="0" eaLnBrk="1" latinLnBrk="0" hangingPunct="1">
              <a:defRPr lang="en-GB" sz="1067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81B0E9F-637B-B4E3-0E4C-6D28BA81E6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717190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_Homepage_Mar15_16-9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794"/>
            <a:ext cx="12188826" cy="6856412"/>
          </a:xfrm>
          <a:prstGeom prst="rect">
            <a:avLst/>
          </a:prstGeom>
        </p:spPr>
      </p:pic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07538" y="4221090"/>
            <a:ext cx="10560051" cy="1370659"/>
          </a:xfrm>
        </p:spPr>
        <p:txBody>
          <a:bodyPr/>
          <a:lstStyle>
            <a:lvl1pPr algn="ctr">
              <a:defRPr sz="2398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2778" y="477355"/>
            <a:ext cx="10657086" cy="21602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Font typeface="Webdings" pitchFamily="18" charset="2"/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46988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_Background_Mar15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8580" y="2130425"/>
            <a:ext cx="7917976" cy="2090738"/>
          </a:xfrm>
        </p:spPr>
        <p:txBody>
          <a:bodyPr/>
          <a:lstStyle>
            <a:lvl1pPr algn="ctr">
              <a:defRPr sz="2998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8580" y="4293099"/>
            <a:ext cx="7917976" cy="79216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Font typeface="Webdings" pitchFamily="18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332656"/>
            <a:ext cx="12192000" cy="471488"/>
            <a:chOff x="-395437" y="254000"/>
            <a:chExt cx="12195175" cy="471488"/>
          </a:xfrm>
        </p:grpSpPr>
        <p:cxnSp>
          <p:nvCxnSpPr>
            <p:cNvPr id="7" name="Straight Connector 7"/>
            <p:cNvCxnSpPr>
              <a:cxnSpLocks noChangeShapeType="1"/>
            </p:cNvCxnSpPr>
            <p:nvPr userDrawn="1"/>
          </p:nvCxnSpPr>
          <p:spPr bwMode="auto">
            <a:xfrm flipH="1">
              <a:off x="-395437" y="476250"/>
              <a:ext cx="9300891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Straight Connector 8"/>
            <p:cNvCxnSpPr>
              <a:cxnSpLocks noChangeShapeType="1"/>
            </p:cNvCxnSpPr>
            <p:nvPr userDrawn="1"/>
          </p:nvCxnSpPr>
          <p:spPr bwMode="auto">
            <a:xfrm flipH="1">
              <a:off x="11245428" y="476250"/>
              <a:ext cx="554310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pic>
          <p:nvPicPr>
            <p:cNvPr id="9" name="Picture 9" descr="Z:\CREATIVE\LOGOS\CORPORATE\INTRACOM TELECOM\COMPANY_logo_white_300dpi.png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9915" y="254000"/>
              <a:ext cx="2087563" cy="471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7420941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None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None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buNone/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None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buNone/>
              <a:defRPr sz="1400">
                <a:solidFill>
                  <a:srgbClr val="3C3C3C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5805642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6921" y="6465889"/>
            <a:ext cx="527050" cy="215900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201137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utterstock_69032332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1974" y="2"/>
            <a:ext cx="12191999" cy="685324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solidFill>
            <a:srgbClr val="C00000">
              <a:alpha val="56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893454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55146" y="6453189"/>
            <a:ext cx="527050" cy="215900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692630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+mj-lt"/>
              <a:buAutoNum type="arabicPeriod"/>
              <a:defRPr sz="1600">
                <a:solidFill>
                  <a:srgbClr val="3C3C3C"/>
                </a:solidFill>
              </a:defRPr>
            </a:lvl1pPr>
            <a:lvl2pPr marL="1009166" indent="-399810">
              <a:buClr>
                <a:srgbClr val="C50000"/>
              </a:buClr>
              <a:buFont typeface="+mj-lt"/>
              <a:buAutoNum type="romanLcPeriod"/>
              <a:defRPr sz="1600">
                <a:solidFill>
                  <a:srgbClr val="3C3C3C"/>
                </a:solidFill>
              </a:defRPr>
            </a:lvl2pPr>
            <a:lvl3pPr marL="1561406" indent="-342694">
              <a:buClr>
                <a:srgbClr val="C50000"/>
              </a:buClr>
              <a:buFont typeface="+mj-lt"/>
              <a:buAutoNum type="alphaLcParenR"/>
              <a:defRPr sz="1500">
                <a:solidFill>
                  <a:srgbClr val="3C3C3C"/>
                </a:solidFill>
              </a:defRPr>
            </a:lvl3pPr>
            <a:lvl4pPr marL="2170763" indent="-342694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4pPr>
            <a:lvl5pPr marL="2780119" indent="-342694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8118627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/>
          </a:p>
        </p:txBody>
      </p:sp>
    </p:spTree>
    <p:extLst>
      <p:ext uri="{BB962C8B-B14F-4D97-AF65-F5344CB8AC3E}">
        <p14:creationId xmlns:p14="http://schemas.microsoft.com/office/powerpoint/2010/main" val="283636306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 dirty="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/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6599924" y="1340768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11" name="Line 4"/>
          <p:cNvSpPr>
            <a:spLocks noChangeShapeType="1"/>
          </p:cNvSpPr>
          <p:nvPr userDrawn="1"/>
        </p:nvSpPr>
        <p:spPr bwMode="auto">
          <a:xfrm>
            <a:off x="6599924" y="1699541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/>
          </a:p>
        </p:txBody>
      </p:sp>
    </p:spTree>
    <p:extLst>
      <p:ext uri="{BB962C8B-B14F-4D97-AF65-F5344CB8AC3E}">
        <p14:creationId xmlns:p14="http://schemas.microsoft.com/office/powerpoint/2010/main" val="12547138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3DEC0-900E-0A52-E1EE-65BFBADCD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03AF5-CB12-24BB-2107-17CF3A2163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A3485F-2C8F-B781-3F52-0EA385E4AE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54C5AC-9477-4A90-48C9-8AF2047F67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3F180-2D1E-48EB-B995-476C9C970610}" type="datetime1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A07AF6-0A5D-F0C2-39B7-BC37C04D5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8BD032-9C33-0AB3-9CD2-3DE2657E5D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79789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PT_ThankYou_16-9_EN_Mar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0"/>
            <a:ext cx="121888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52414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_Homepage_Mar15_16-9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794"/>
            <a:ext cx="12188826" cy="6856412"/>
          </a:xfrm>
          <a:prstGeom prst="rect">
            <a:avLst/>
          </a:prstGeom>
        </p:spPr>
      </p:pic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07539" y="4221092"/>
            <a:ext cx="10560051" cy="1370659"/>
          </a:xfrm>
        </p:spPr>
        <p:txBody>
          <a:bodyPr/>
          <a:lstStyle>
            <a:lvl1pPr algn="ctr">
              <a:defRPr sz="2397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2779" y="477355"/>
            <a:ext cx="10657086" cy="21602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Font typeface="Webdings" pitchFamily="18" charset="2"/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1903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_Background_Mar15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8580" y="2130425"/>
            <a:ext cx="7917976" cy="2090738"/>
          </a:xfrm>
        </p:spPr>
        <p:txBody>
          <a:bodyPr/>
          <a:lstStyle>
            <a:lvl1pPr algn="ctr">
              <a:defRPr sz="2997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8580" y="4293101"/>
            <a:ext cx="7917976" cy="79216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Font typeface="Webdings" pitchFamily="18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332656"/>
            <a:ext cx="12192000" cy="471488"/>
            <a:chOff x="-395437" y="254000"/>
            <a:chExt cx="12195175" cy="471488"/>
          </a:xfrm>
        </p:grpSpPr>
        <p:cxnSp>
          <p:nvCxnSpPr>
            <p:cNvPr id="7" name="Straight Connector 7"/>
            <p:cNvCxnSpPr>
              <a:cxnSpLocks noChangeShapeType="1"/>
            </p:cNvCxnSpPr>
            <p:nvPr userDrawn="1"/>
          </p:nvCxnSpPr>
          <p:spPr bwMode="auto">
            <a:xfrm flipH="1">
              <a:off x="-395437" y="476250"/>
              <a:ext cx="9300891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Straight Connector 8"/>
            <p:cNvCxnSpPr>
              <a:cxnSpLocks noChangeShapeType="1"/>
            </p:cNvCxnSpPr>
            <p:nvPr userDrawn="1"/>
          </p:nvCxnSpPr>
          <p:spPr bwMode="auto">
            <a:xfrm flipH="1">
              <a:off x="11245428" y="476250"/>
              <a:ext cx="554310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pic>
          <p:nvPicPr>
            <p:cNvPr id="9" name="Picture 9" descr="Z:\CREATIVE\LOGOS\CORPORATE\INTRACOM TELECOM\COMPANY_logo_white_300dpi.png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9915" y="254000"/>
              <a:ext cx="2087563" cy="471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67765470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None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None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buNone/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None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buNone/>
              <a:defRPr sz="1400">
                <a:solidFill>
                  <a:srgbClr val="3C3C3C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42447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/>
            </a:endParaRP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384596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utterstock_69032332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1974" y="4"/>
            <a:ext cx="12191999" cy="685324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solidFill>
            <a:srgbClr val="C00000">
              <a:alpha val="56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/>
            </a:endParaRP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064494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55147" y="6453189"/>
            <a:ext cx="527050" cy="215900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0406218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7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+mj-lt"/>
              <a:buAutoNum type="arabicPeriod"/>
              <a:defRPr sz="1600">
                <a:solidFill>
                  <a:srgbClr val="3C3C3C"/>
                </a:solidFill>
              </a:defRPr>
            </a:lvl1pPr>
            <a:lvl2pPr marL="1008863" indent="-399690">
              <a:buClr>
                <a:srgbClr val="C50000"/>
              </a:buClr>
              <a:buFont typeface="+mj-lt"/>
              <a:buAutoNum type="romanLcPeriod"/>
              <a:defRPr sz="1600">
                <a:solidFill>
                  <a:srgbClr val="3C3C3C"/>
                </a:solidFill>
              </a:defRPr>
            </a:lvl2pPr>
            <a:lvl3pPr marL="1560938" indent="-342591">
              <a:buClr>
                <a:srgbClr val="C50000"/>
              </a:buClr>
              <a:buFont typeface="+mj-lt"/>
              <a:buAutoNum type="alphaLcParenR"/>
              <a:defRPr sz="1500">
                <a:solidFill>
                  <a:srgbClr val="3C3C3C"/>
                </a:solidFill>
              </a:defRPr>
            </a:lvl3pPr>
            <a:lvl4pPr marL="2170112" indent="-342591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4pPr>
            <a:lvl5pPr marL="2779285" indent="-342591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893859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439726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9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>
              <a:latin typeface="Arial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6599924" y="1340768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11" name="Line 4"/>
          <p:cNvSpPr>
            <a:spLocks noChangeShapeType="1"/>
          </p:cNvSpPr>
          <p:nvPr userDrawn="1"/>
        </p:nvSpPr>
        <p:spPr bwMode="auto">
          <a:xfrm>
            <a:off x="6599924" y="1699541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85190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1E332-FE97-A452-2436-B4B81773A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1027F-3BBF-2FE9-D6CA-4C6150FC23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6D2563-2C07-ED6F-DA5C-47089FF4A1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37460F-EF5A-49F4-6173-3A920749A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6F167-769D-4998-9BE4-8CE88C9894BB}" type="datetime1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69CEFF-8ED8-DD4D-CDDC-09B5CA1C4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8418B4-4CEF-2550-B5C0-9A20A4257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29220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PT_ThankYou_16-9_EN_Mar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0"/>
            <a:ext cx="121888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88591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07538" y="4221090"/>
            <a:ext cx="10560051" cy="1370659"/>
          </a:xfrm>
        </p:spPr>
        <p:txBody>
          <a:bodyPr/>
          <a:lstStyle>
            <a:lvl1pPr algn="ctr">
              <a:defRPr sz="2398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2778" y="477355"/>
            <a:ext cx="10657086" cy="21602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Font typeface="Webdings" pitchFamily="18" charset="2"/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4933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_Background_Mar15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8580" y="2130425"/>
            <a:ext cx="7917976" cy="2090738"/>
          </a:xfrm>
        </p:spPr>
        <p:txBody>
          <a:bodyPr/>
          <a:lstStyle>
            <a:lvl1pPr algn="ctr">
              <a:defRPr sz="2998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8580" y="4293099"/>
            <a:ext cx="7917976" cy="79216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Font typeface="Webdings" pitchFamily="18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332656"/>
            <a:ext cx="12192000" cy="471488"/>
            <a:chOff x="-395437" y="254000"/>
            <a:chExt cx="12195175" cy="471488"/>
          </a:xfrm>
        </p:grpSpPr>
        <p:cxnSp>
          <p:nvCxnSpPr>
            <p:cNvPr id="7" name="Straight Connector 7"/>
            <p:cNvCxnSpPr>
              <a:cxnSpLocks noChangeShapeType="1"/>
            </p:cNvCxnSpPr>
            <p:nvPr userDrawn="1"/>
          </p:nvCxnSpPr>
          <p:spPr bwMode="auto">
            <a:xfrm flipH="1">
              <a:off x="-395437" y="476250"/>
              <a:ext cx="9300891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Straight Connector 8"/>
            <p:cNvCxnSpPr>
              <a:cxnSpLocks noChangeShapeType="1"/>
            </p:cNvCxnSpPr>
            <p:nvPr userDrawn="1"/>
          </p:nvCxnSpPr>
          <p:spPr bwMode="auto">
            <a:xfrm flipH="1">
              <a:off x="11245428" y="476250"/>
              <a:ext cx="554310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pic>
          <p:nvPicPr>
            <p:cNvPr id="9" name="Picture 9" descr="Z:\CREATIVE\LOGOS\CORPORATE\INTRACOM TELECOM\COMPANY_logo_white_300dpi.png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49915" y="254000"/>
              <a:ext cx="2087563" cy="471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407481477"/>
      </p:ext>
    </p:extLst>
  </p:cSld>
  <p:clrMapOvr>
    <a:masterClrMapping/>
  </p:clrMapOvr>
  <p:transition>
    <p:diamond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None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None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buNone/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None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buNone/>
              <a:defRPr sz="1400">
                <a:solidFill>
                  <a:srgbClr val="3C3C3C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846509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 marL="266540" indent="-266540"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 marL="629860" indent="-291924">
              <a:buClr>
                <a:srgbClr val="C50000"/>
              </a:buClr>
              <a:buFont typeface="Wingdings" panose="05000000000000000000" pitchFamily="2" charset="2"/>
              <a:buChar char="§"/>
              <a:defRPr sz="1600">
                <a:solidFill>
                  <a:srgbClr val="3C3C3C"/>
                </a:solidFill>
              </a:defRPr>
            </a:lvl2pPr>
            <a:lvl3pPr marL="985246" indent="-355386">
              <a:buClr>
                <a:srgbClr val="C50000"/>
              </a:buClr>
              <a:buFont typeface="Arial" panose="020B0604020202020204" pitchFamily="34" charset="0"/>
              <a:buChar char="•"/>
              <a:defRPr sz="1500">
                <a:solidFill>
                  <a:srgbClr val="3C3C3C"/>
                </a:solidFill>
              </a:defRPr>
            </a:lvl3pPr>
            <a:lvl4pPr marL="1339046" indent="-353801"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 marL="1792799" indent="-355386"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5446227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+mj-lt"/>
              <a:buAutoNum type="arabicPeriod"/>
              <a:defRPr sz="1600">
                <a:solidFill>
                  <a:srgbClr val="3C3C3C"/>
                </a:solidFill>
              </a:defRPr>
            </a:lvl1pPr>
            <a:lvl2pPr marL="1009166" indent="-399810">
              <a:buClr>
                <a:srgbClr val="C50000"/>
              </a:buClr>
              <a:buFont typeface="+mj-lt"/>
              <a:buAutoNum type="romanLcPeriod"/>
              <a:defRPr sz="1600">
                <a:solidFill>
                  <a:srgbClr val="3C3C3C"/>
                </a:solidFill>
              </a:defRPr>
            </a:lvl2pPr>
            <a:lvl3pPr marL="1561406" indent="-342694">
              <a:buClr>
                <a:srgbClr val="C50000"/>
              </a:buClr>
              <a:buFont typeface="+mj-lt"/>
              <a:buAutoNum type="alphaLcParenR"/>
              <a:defRPr sz="1500">
                <a:solidFill>
                  <a:srgbClr val="3C3C3C"/>
                </a:solidFill>
              </a:defRPr>
            </a:lvl3pPr>
            <a:lvl4pPr marL="2170763" indent="-342694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4pPr>
            <a:lvl5pPr marL="2780119" indent="-342694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280846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63252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6599924" y="1340768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11" name="Line 4"/>
          <p:cNvSpPr>
            <a:spLocks noChangeShapeType="1"/>
          </p:cNvSpPr>
          <p:nvPr userDrawn="1"/>
        </p:nvSpPr>
        <p:spPr bwMode="auto">
          <a:xfrm>
            <a:off x="6599924" y="1699541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64378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solidFill>
                <a:srgbClr val="000000"/>
              </a:solidFill>
            </a:endParaRPr>
          </a:p>
        </p:txBody>
      </p:sp>
      <p:pic>
        <p:nvPicPr>
          <p:cNvPr id="10" name="Picture 8" descr="Z:\PRESENTATIONS\TELECOM\DRAFT-2Q2014\header.png"/>
          <p:cNvPicPr>
            <a:picLocks noChangeAspect="1" noChangeArrowheads="1"/>
          </p:cNvPicPr>
          <p:nvPr userDrawn="1"/>
        </p:nvPicPr>
        <p:blipFill>
          <a:blip r:embed="rId2" cstate="print"/>
          <a:srcRect l="24728"/>
          <a:stretch>
            <a:fillRect/>
          </a:stretch>
        </p:blipFill>
        <p:spPr bwMode="auto">
          <a:xfrm>
            <a:off x="0" y="0"/>
            <a:ext cx="469778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rgbClr val="C5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 marL="266540" indent="-266540"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 marL="629860" indent="-291924"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 marL="985246" indent="-215770"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 marL="1437413" indent="-304618"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 marL="1792799" indent="-304618"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900219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58351"/>
      </p:ext>
    </p:extLst>
  </p:cSld>
  <p:clrMapOvr>
    <a:masterClrMapping/>
  </p:clrMapOvr>
  <p:transition>
    <p:diamond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169AF-3E99-1DD3-C474-69FDEB9C2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F10C6A-306C-30E2-9CCF-57FE82BACB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4B9B96-E373-13BE-1FE2-948EF082D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FB9D7-DD6C-447D-96E0-EA9006C99B3B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D6E196-DE5E-1CE5-1F47-05D9D8E1C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411C31-9B48-1D5B-1868-B1C5F2F53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1262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949603"/>
      </p:ext>
    </p:extLst>
  </p:cSld>
  <p:clrMapOvr>
    <a:masterClrMapping/>
  </p:clrMapOvr>
  <p:transition>
    <p:diamond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6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372796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-241299" y="2"/>
            <a:ext cx="12625917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8">
              <a:cs typeface="+mn-cs"/>
            </a:endParaRPr>
          </a:p>
        </p:txBody>
      </p:sp>
      <p:pic>
        <p:nvPicPr>
          <p:cNvPr id="5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84169" y="254000"/>
            <a:ext cx="2783417" cy="47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392" y="1341438"/>
            <a:ext cx="10944192" cy="4608512"/>
          </a:xfrm>
        </p:spPr>
        <p:txBody>
          <a:bodyPr/>
          <a:lstStyle>
            <a:lvl1pPr marL="0" indent="0">
              <a:buSzPct val="100000"/>
              <a:buFontTx/>
              <a:buNone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Tx/>
              <a:buNone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buFontTx/>
              <a:buNone/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Tx/>
              <a:buNone/>
              <a:defRPr sz="1500" b="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buFontTx/>
              <a:buNone/>
              <a:defRPr sz="15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7799E-8CC9-4C65-A504-45BC35197F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313724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07537" y="4221088"/>
            <a:ext cx="10560051" cy="1370659"/>
          </a:xfrm>
        </p:spPr>
        <p:txBody>
          <a:bodyPr/>
          <a:lstStyle>
            <a:lvl1pPr algn="ctr">
              <a:defRPr sz="2399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2777" y="477355"/>
            <a:ext cx="10657086" cy="21602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Font typeface="Webdings" pitchFamily="18" charset="2"/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12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_Background_Mar15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8580" y="2130425"/>
            <a:ext cx="7917976" cy="2090738"/>
          </a:xfrm>
        </p:spPr>
        <p:txBody>
          <a:bodyPr/>
          <a:lstStyle>
            <a:lvl1pPr algn="ctr">
              <a:defRPr sz="2999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8580" y="4293097"/>
            <a:ext cx="7917976" cy="79216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Font typeface="Webdings" pitchFamily="18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332656"/>
            <a:ext cx="12192000" cy="471488"/>
            <a:chOff x="-395437" y="254000"/>
            <a:chExt cx="12195175" cy="471488"/>
          </a:xfrm>
        </p:grpSpPr>
        <p:cxnSp>
          <p:nvCxnSpPr>
            <p:cNvPr id="7" name="Straight Connector 7"/>
            <p:cNvCxnSpPr>
              <a:cxnSpLocks noChangeShapeType="1"/>
            </p:cNvCxnSpPr>
            <p:nvPr userDrawn="1"/>
          </p:nvCxnSpPr>
          <p:spPr bwMode="auto">
            <a:xfrm flipH="1">
              <a:off x="-395437" y="476250"/>
              <a:ext cx="9300891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Straight Connector 8"/>
            <p:cNvCxnSpPr>
              <a:cxnSpLocks noChangeShapeType="1"/>
            </p:cNvCxnSpPr>
            <p:nvPr userDrawn="1"/>
          </p:nvCxnSpPr>
          <p:spPr bwMode="auto">
            <a:xfrm flipH="1">
              <a:off x="11245428" y="476250"/>
              <a:ext cx="554310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pic>
          <p:nvPicPr>
            <p:cNvPr id="9" name="Picture 9" descr="Z:\CREATIVE\LOGOS\CORPORATE\INTRACOM TELECOM\COMPANY_logo_white_300dpi.png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49915" y="254000"/>
              <a:ext cx="2087563" cy="471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1508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974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None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None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buNone/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None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buNone/>
              <a:defRPr sz="1400">
                <a:solidFill>
                  <a:srgbClr val="3C3C3C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6246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930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+mj-lt"/>
              <a:buAutoNum type="arabicPeriod"/>
              <a:defRPr sz="1600">
                <a:solidFill>
                  <a:srgbClr val="3C3C3C"/>
                </a:solidFill>
              </a:defRPr>
            </a:lvl1pPr>
            <a:lvl2pPr marL="1009469" indent="-399930">
              <a:buClr>
                <a:srgbClr val="C50000"/>
              </a:buClr>
              <a:buFont typeface="+mj-lt"/>
              <a:buAutoNum type="romanLcPeriod"/>
              <a:defRPr sz="1600">
                <a:solidFill>
                  <a:srgbClr val="3C3C3C"/>
                </a:solidFill>
              </a:defRPr>
            </a:lvl2pPr>
            <a:lvl3pPr marL="1561875" indent="-342797">
              <a:buClr>
                <a:srgbClr val="C50000"/>
              </a:buClr>
              <a:buFont typeface="+mj-lt"/>
              <a:buAutoNum type="alphaLcParenR"/>
              <a:defRPr sz="1500">
                <a:solidFill>
                  <a:srgbClr val="3C3C3C"/>
                </a:solidFill>
              </a:defRPr>
            </a:lvl3pPr>
            <a:lvl4pPr marL="2171414" indent="-342797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4pPr>
            <a:lvl5pPr marL="2780953" indent="-342797">
              <a:buClr>
                <a:srgbClr val="C50000"/>
              </a:buClr>
              <a:buFont typeface="+mj-lt"/>
              <a:buAutoNum type="arabicPeriod"/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919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799"/>
          </a:p>
        </p:txBody>
      </p:sp>
    </p:spTree>
    <p:extLst>
      <p:ext uri="{BB962C8B-B14F-4D97-AF65-F5344CB8AC3E}">
        <p14:creationId xmlns:p14="http://schemas.microsoft.com/office/powerpoint/2010/main" val="265033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 dirty="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799"/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6599924" y="1340768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11" name="Line 4"/>
          <p:cNvSpPr>
            <a:spLocks noChangeShapeType="1"/>
          </p:cNvSpPr>
          <p:nvPr userDrawn="1"/>
        </p:nvSpPr>
        <p:spPr bwMode="auto">
          <a:xfrm>
            <a:off x="6599924" y="1699541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799"/>
          </a:p>
        </p:txBody>
      </p:sp>
    </p:spTree>
    <p:extLst>
      <p:ext uri="{BB962C8B-B14F-4D97-AF65-F5344CB8AC3E}">
        <p14:creationId xmlns:p14="http://schemas.microsoft.com/office/powerpoint/2010/main" val="166466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532D114-0C73-6892-6F0D-74B9A6FB5D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194AF1-D9E9-B5CB-AAC3-E6C127F8E6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62D22-2C18-AD3F-92D0-C5B397DD4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CF3DF-F608-43C2-92AA-C52D13564A3E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1F8CCA-FB39-26D5-C23A-B23C846A8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0147E2-2092-B888-E646-16CAABA17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14910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pic>
        <p:nvPicPr>
          <p:cNvPr id="10" name="Picture 8" descr="Z:\PRESENTATIONS\TELECOM\DRAFT-2Q2014\header.png"/>
          <p:cNvPicPr>
            <a:picLocks noChangeAspect="1" noChangeArrowheads="1"/>
          </p:cNvPicPr>
          <p:nvPr userDrawn="1"/>
        </p:nvPicPr>
        <p:blipFill>
          <a:blip r:embed="rId2" cstate="print"/>
          <a:srcRect l="24728"/>
          <a:stretch>
            <a:fillRect/>
          </a:stretch>
        </p:blipFill>
        <p:spPr bwMode="auto">
          <a:xfrm>
            <a:off x="0" y="0"/>
            <a:ext cx="469778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rgbClr val="C5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513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22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09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07537" y="4221088"/>
            <a:ext cx="10560051" cy="1370659"/>
          </a:xfrm>
        </p:spPr>
        <p:txBody>
          <a:bodyPr/>
          <a:lstStyle>
            <a:lvl1pPr algn="ctr">
              <a:defRPr sz="2399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2777" y="477355"/>
            <a:ext cx="10657086" cy="21602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Font typeface="Webdings" pitchFamily="18" charset="2"/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90252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_Background_Mar15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8580" y="2130425"/>
            <a:ext cx="7917976" cy="2090738"/>
          </a:xfrm>
        </p:spPr>
        <p:txBody>
          <a:bodyPr/>
          <a:lstStyle>
            <a:lvl1pPr algn="ctr">
              <a:defRPr sz="2999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8580" y="4293097"/>
            <a:ext cx="7917976" cy="79216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Font typeface="Webdings" pitchFamily="18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endParaRPr lang="el-GR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332656"/>
            <a:ext cx="12192000" cy="471488"/>
            <a:chOff x="-395437" y="254000"/>
            <a:chExt cx="12195175" cy="471488"/>
          </a:xfrm>
        </p:grpSpPr>
        <p:cxnSp>
          <p:nvCxnSpPr>
            <p:cNvPr id="7" name="Straight Connector 7"/>
            <p:cNvCxnSpPr>
              <a:cxnSpLocks noChangeShapeType="1"/>
            </p:cNvCxnSpPr>
            <p:nvPr userDrawn="1"/>
          </p:nvCxnSpPr>
          <p:spPr bwMode="auto">
            <a:xfrm flipH="1">
              <a:off x="-395437" y="476250"/>
              <a:ext cx="9300891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Straight Connector 8"/>
            <p:cNvCxnSpPr>
              <a:cxnSpLocks noChangeShapeType="1"/>
            </p:cNvCxnSpPr>
            <p:nvPr userDrawn="1"/>
          </p:nvCxnSpPr>
          <p:spPr bwMode="auto">
            <a:xfrm flipH="1">
              <a:off x="11245428" y="476250"/>
              <a:ext cx="554310" cy="0"/>
            </a:xfrm>
            <a:prstGeom prst="line">
              <a:avLst/>
            </a:prstGeom>
            <a:noFill/>
            <a:ln w="9525" algn="ctr">
              <a:solidFill>
                <a:schemeClr val="bg1"/>
              </a:solidFill>
              <a:round/>
              <a:headEnd/>
              <a:tailEnd/>
            </a:ln>
          </p:spPr>
        </p:cxnSp>
        <p:pic>
          <p:nvPicPr>
            <p:cNvPr id="9" name="Picture 9" descr="Z:\CREATIVE\LOGOS\CORPORATE\INTRACOM TELECOM\COMPANY_logo_white_300dpi.png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9915" y="254000"/>
              <a:ext cx="2087563" cy="471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768958834"/>
      </p:ext>
    </p:extLst>
  </p:cSld>
  <p:clrMapOvr>
    <a:masterClrMapping/>
  </p:clrMapOvr>
  <p:transition>
    <p:diamond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1893758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799"/>
          </a:p>
        </p:txBody>
      </p:sp>
    </p:spTree>
    <p:extLst>
      <p:ext uri="{BB962C8B-B14F-4D97-AF65-F5344CB8AC3E}">
        <p14:creationId xmlns:p14="http://schemas.microsoft.com/office/powerpoint/2010/main" val="146450200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 dirty="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1" y="1341440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 userDrawn="1"/>
        </p:nvSpPr>
        <p:spPr bwMode="auto">
          <a:xfrm>
            <a:off x="624816" y="1700213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799"/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6599924" y="1340768"/>
            <a:ext cx="5038688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11" name="Line 4"/>
          <p:cNvSpPr>
            <a:spLocks noChangeShapeType="1"/>
          </p:cNvSpPr>
          <p:nvPr userDrawn="1"/>
        </p:nvSpPr>
        <p:spPr bwMode="auto">
          <a:xfrm>
            <a:off x="6599924" y="1699541"/>
            <a:ext cx="5038688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l-GR" sz="1799"/>
          </a:p>
        </p:txBody>
      </p:sp>
    </p:spTree>
    <p:extLst>
      <p:ext uri="{BB962C8B-B14F-4D97-AF65-F5344CB8AC3E}">
        <p14:creationId xmlns:p14="http://schemas.microsoft.com/office/powerpoint/2010/main" val="214171718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pic>
        <p:nvPicPr>
          <p:cNvPr id="10" name="Picture 8" descr="Z:\PRESENTATIONS\TELECOM\DRAFT-2Q2014\header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728"/>
          <a:stretch>
            <a:fillRect/>
          </a:stretch>
        </p:blipFill>
        <p:spPr bwMode="auto">
          <a:xfrm>
            <a:off x="0" y="0"/>
            <a:ext cx="469778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rgbClr val="C5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 marL="266620" indent="-266620"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 marL="630049" indent="-292012"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 marL="985542" indent="-215835"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 marL="1437844" indent="-304709"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 marL="1793337" indent="-304709"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548017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955003"/>
      </p:ext>
    </p:extLst>
  </p:cSld>
  <p:clrMapOvr>
    <a:masterClrMapping/>
  </p:clrMapOvr>
  <p:transition>
    <p:diamond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E5F75-611C-4698-9A41-9F553224C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7DAFC5-D9EC-4CB1-9C19-9DAEA401ED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6F5FDD-1CD1-4D84-BFDC-1344E01506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106E4-C771-491B-BE3A-2728FF12AF0B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BAFCB-D577-4F33-BE33-41B282A13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E79D21-179E-453B-B8F3-0F2C6A0F1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543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FF79836-BBB3-F465-E1C5-425AB4A83E4B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E9A04A-3145-3809-19A7-33EF3021A9A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C3DF80-A3E4-DDDB-D584-7BEE3A84C96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6E76675-E286-0D90-FB5C-6C96371234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4295651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21"/>
            <a:ext cx="121949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486306"/>
      </p:ext>
    </p:extLst>
  </p:cSld>
  <p:clrMapOvr>
    <a:masterClrMapping/>
  </p:clrMapOvr>
  <p:transition>
    <p:diamond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2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 marL="199912" indent="-199912"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200">
                <a:solidFill>
                  <a:srgbClr val="3C3C3C"/>
                </a:solidFill>
              </a:defRPr>
            </a:lvl1pPr>
            <a:lvl2pPr marL="472410" indent="-218951">
              <a:buClr>
                <a:srgbClr val="C50000"/>
              </a:buClr>
              <a:buFont typeface="Wingdings" panose="05000000000000000000" pitchFamily="2" charset="2"/>
              <a:buChar char="§"/>
              <a:defRPr sz="1200">
                <a:solidFill>
                  <a:srgbClr val="3C3C3C"/>
                </a:solidFill>
              </a:defRPr>
            </a:lvl2pPr>
            <a:lvl3pPr marL="738959" indent="-266549">
              <a:buClr>
                <a:srgbClr val="C50000"/>
              </a:buClr>
              <a:buFont typeface="Arial" panose="020B0604020202020204" pitchFamily="34" charset="0"/>
              <a:buChar char="•"/>
              <a:defRPr sz="1125">
                <a:solidFill>
                  <a:srgbClr val="3C3C3C"/>
                </a:solidFill>
              </a:defRPr>
            </a:lvl3pPr>
            <a:lvl4pPr marL="1004319" indent="-265359">
              <a:buClr>
                <a:srgbClr val="C50000"/>
              </a:buClr>
              <a:buFont typeface="PF Square Sans Pro" pitchFamily="2" charset="0"/>
              <a:buChar char=""/>
              <a:defRPr sz="1050">
                <a:solidFill>
                  <a:srgbClr val="3C3C3C"/>
                </a:solidFill>
              </a:defRPr>
            </a:lvl4pPr>
            <a:lvl5pPr marL="1344643" indent="-266549">
              <a:buClr>
                <a:srgbClr val="C50000"/>
              </a:buClr>
              <a:defRPr sz="105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75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7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990869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6615919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200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75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7" y="333377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4022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-241300" y="2"/>
            <a:ext cx="12625917" cy="981075"/>
          </a:xfrm>
          <a:prstGeom prst="rect">
            <a:avLst/>
          </a:prstGeom>
          <a:gradFill rotWithShape="1">
            <a:gsLst>
              <a:gs pos="0">
                <a:srgbClr val="7A0000"/>
              </a:gs>
              <a:gs pos="50000">
                <a:srgbClr val="B20000"/>
              </a:gs>
              <a:gs pos="100000">
                <a:srgbClr val="D40000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defRPr/>
            </a:pPr>
            <a:endParaRPr lang="el-GR" altLang="en-US" sz="1600">
              <a:cs typeface="Arial" panose="020B0604020202020204" pitchFamily="34" charset="0"/>
            </a:endParaRPr>
          </a:p>
        </p:txBody>
      </p:sp>
      <p:pic>
        <p:nvPicPr>
          <p:cNvPr id="5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4168" y="254000"/>
            <a:ext cx="278341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oter Placeholder 3"/>
          <p:cNvSpPr txBox="1">
            <a:spLocks/>
          </p:cNvSpPr>
          <p:nvPr userDrawn="1"/>
        </p:nvSpPr>
        <p:spPr bwMode="auto">
          <a:xfrm>
            <a:off x="4165601" y="6489702"/>
            <a:ext cx="426296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696A6C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000">
                <a:solidFill>
                  <a:srgbClr val="000000"/>
                </a:solidFill>
                <a:ea typeface="MS PGothic" panose="020B0600070205080204" pitchFamily="34" charset="-128"/>
              </a:rPr>
              <a:t>Intracom Telecom Confidential</a:t>
            </a:r>
            <a:endParaRPr lang="el-GR" altLang="en-US" sz="100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4" y="1341438"/>
            <a:ext cx="11233151" cy="4608512"/>
          </a:xfrm>
          <a:prstGeom prst="rect">
            <a:avLst/>
          </a:prstGeom>
        </p:spPr>
        <p:txBody>
          <a:bodyPr/>
          <a:lstStyle>
            <a:lvl1pPr>
              <a:buSzPct val="90000"/>
              <a:buFontTx/>
              <a:buBlip>
                <a:blip r:embed="rId3"/>
              </a:buBlip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9D8C88-5175-48F3-91F0-28BB76E1051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31210760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2"/>
            <a:ext cx="12190026" cy="981075"/>
          </a:xfrm>
          <a:prstGeom prst="rect">
            <a:avLst/>
          </a:prstGeom>
          <a:gradFill flip="none" rotWithShape="1">
            <a:gsLst>
              <a:gs pos="0">
                <a:srgbClr val="C50000">
                  <a:shade val="30000"/>
                  <a:satMod val="115000"/>
                </a:srgbClr>
              </a:gs>
              <a:gs pos="50000">
                <a:srgbClr val="C50000">
                  <a:shade val="67500"/>
                  <a:satMod val="115000"/>
                </a:srgbClr>
              </a:gs>
              <a:gs pos="100000">
                <a:srgbClr val="C5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defRPr/>
            </a:pPr>
            <a:endParaRPr lang="el-GR" sz="1799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 marL="261859" indent="-261859"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 marL="623701" indent="-260272">
              <a:buClr>
                <a:srgbClr val="C50000"/>
              </a:buClr>
              <a:buFont typeface="BPreplay" pitchFamily="50" charset="0"/>
              <a:buChar char="•"/>
              <a:tabLst>
                <a:tab pos="812556" algn="l"/>
              </a:tabLst>
              <a:defRPr sz="1600">
                <a:solidFill>
                  <a:srgbClr val="3C3C3C"/>
                </a:solidFill>
              </a:defRPr>
            </a:lvl2pPr>
            <a:lvl3pPr marL="1074416" indent="-261859"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 marL="1436257" indent="-276142"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 marL="1799685" indent="-276142"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545AE75-7117-4D34-B285-AD21001699F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9" descr="Z:\CREATIVE\LOGOS\CORPORATE\INTRACOM TELECOM\COMPANY_logo_white_300dpi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166" y="333375"/>
            <a:ext cx="2087020" cy="47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99681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FF79836-BBB3-F465-E1C5-425AB4A83E4B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E9A04A-3145-3809-19A7-33EF3021A9A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C3DF80-A3E4-DDDB-D584-7BEE3A84C96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6E76675-E286-0D90-FB5C-6C96371234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239830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802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1pPr>
            <a:lvl2pPr marL="23998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2pPr>
            <a:lvl3pPr marL="47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3pPr>
            <a:lvl4pPr marL="71996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4pPr>
            <a:lvl5pPr marL="95995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06B219-6557-5951-F467-43B768A9C96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F66938-CF4B-D097-1BC6-18EB230030F4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929F03-682A-4566-CF9F-D3B71DB4575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E177B5-71D7-398C-03E7-932A7015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176237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483553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Bulletpoint text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A67328-00EF-5713-CA06-6BF95B775913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75580-5FAF-E6C5-DFED-1F462D82E3A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21FDDB-B801-EAA3-9D13-40103E7AC2C1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5EB5894-B0A6-D8F1-AD97-D6E4D056DD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05850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Bulletpoint tex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1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8E66B8-C798-B992-2C68-B85351E1170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A67C43-66D6-847E-98DC-61F9029ECC0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3A8A5F-292F-2AC1-C1B0-A59D33F93A2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A1277FE0-ECBC-0B62-6936-4A9C8E1CE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5325361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Bulletpoint tex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DA646D-5F97-9D8A-4598-A0C98D4634E0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115B87B-934C-0F92-5F93-D343BD44B66C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28D676-DD53-1C54-82A5-88434E06B3E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5A16F44-B403-571B-AD0A-B6A86614B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2270678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84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773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tx1"/>
                </a:solidFill>
              </a:defRPr>
            </a:lvl2pPr>
            <a:lvl3pPr marL="784760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tx1"/>
                </a:solidFill>
              </a:defRPr>
            </a:lvl3pPr>
            <a:lvl4pPr marL="1024749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tx1"/>
                </a:solidFill>
              </a:defRPr>
            </a:lvl4pPr>
            <a:lvl5pPr marL="1276136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36" marR="0" lvl="4" indent="-3047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B696985-1EFA-02D0-106A-9F81CEBC3FA1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F7E5B4-21F0-0696-BF4F-8AFCA8103CD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7755C10-FC21-4D9F-8DA4-A30B437ABD1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DDC4B182-BD0E-D0F1-793C-A6CE500EA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084416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06DFA0-C2BA-C581-C314-740F6D8A7079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1F327B-603C-86B8-9F24-AB86561B3C0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24B9E5-9DF5-72DD-49F0-33455A6A12D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D779461-EFB5-C35B-DE08-509687C826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199109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F7590-6E67-4961-8E03-BB5FFAE6E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E51B83-A1A6-4F7C-8104-8646EDBAF2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63E20C-89B8-460C-8E1F-D99066CC64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28213A-A874-4C43-8360-FE82B49A6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B90CA2-61DC-45C9-A129-5AD00171B322}" type="datetime1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656511-B5A0-4DD5-8996-4ED860AAF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E273E1-2900-4E6F-BEB4-4CF602C7A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6879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Title slide with me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294B94FF-B007-7648-0008-A471B34C4C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2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9BA26F-4B98-6DDA-4965-A8BCB0A90C5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218EC66-6293-FC0C-C8AC-A21153E5703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316F68-F558-B048-EF20-3133405450BF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535B119-5E07-6658-028F-A2E92F84E1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010899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1 Title slide with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A9C292-FC1E-4CD0-D1C2-1C1BF0964A4B}"/>
              </a:ext>
            </a:extLst>
          </p:cNvPr>
          <p:cNvSpPr/>
          <p:nvPr userDrawn="1"/>
        </p:nvSpPr>
        <p:spPr>
          <a:xfrm flipH="1">
            <a:off x="-14515" y="0"/>
            <a:ext cx="5080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400"/>
              </a:spcAft>
              <a:buSzPct val="100000"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ADE2C08-8C2F-6DA1-140F-78B7C3839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3" name="Text Placeholder 42">
            <a:extLst>
              <a:ext uri="{FF2B5EF4-FFF2-40B4-BE49-F238E27FC236}">
                <a16:creationId xmlns:a16="http://schemas.microsoft.com/office/drawing/2014/main" id="{076F2482-56A5-DF69-EDAB-369E53244A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9EE67559-07A5-8DC0-5F9E-74889395C5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8C92FD-B39B-95B0-724C-D1AA2268DE2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172D6B9-A8FE-EBFF-D93D-5EB12C01965D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AF35F11C-FBF2-64A9-BC5E-546156F77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EFF7564F-7000-1BEA-AD06-C8104C4313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423906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9730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0260450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3 Title slide with me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2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05DD94-B1D7-AF62-87C9-7EF3B816BC50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A45A5E-8155-944F-17C0-E8C2DF0291BF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60D9BC-D30D-1466-7616-8C7936E38CF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FEC4AEB-8265-3816-B1A7-81B4297B5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411352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4 Title slide with me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2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69DAC9-98D0-DE29-0854-C322936DF8E9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B783F8-E852-2880-7AC7-93C221C8FF1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9725E7-2EC0-E3B5-3DB0-057A690FD95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F00D657-7150-C4CD-A10F-64140FBB3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513233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Blank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2D48F3-5FAB-7137-F8DD-66420388FACA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0EFD0E-73A9-D773-3F8A-B9B78A9503C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7EEC03-3391-E652-F649-78782CA2435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021FBAF-6C06-6FF4-B424-967A0139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533160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1pPr>
            <a:lvl2pPr marL="23999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2pPr>
            <a:lvl3pPr marL="479988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3pPr>
            <a:lvl4pPr marL="71998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4pPr>
            <a:lvl5pPr marL="95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06B219-6557-5951-F467-43B768A9C96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F66938-CF4B-D097-1BC6-18EB230030F4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929F03-682A-4566-CF9F-D3B71DB4575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E177B5-71D7-398C-03E7-932A7015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739554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7587070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5 Bulletpoint text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A67328-00EF-5713-CA06-6BF95B775913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75580-5FAF-E6C5-DFED-1F462D82E3A6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21FDDB-B801-EAA3-9D13-40103E7AC2C1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5EB5894-B0A6-D8F1-AD97-D6E4D056DD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680864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6 Bulletpoint tex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0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8E66B8-C798-B992-2C68-B85351E1170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A67C43-66D6-847E-98DC-61F9029ECC0B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3A8A5F-292F-2AC1-C1B0-A59D33F93A2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A1277FE0-ECBC-0B62-6936-4A9C8E1CE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577703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E7734-FF07-42AB-A58A-62540CF2D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01E2B-0149-4F91-B4CE-F33AD86771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DBF936-FA00-40F0-8662-0AECBA36E5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8EADB2-0CF2-4E2B-ABA8-F89FA9A108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B24A59-0429-4354-8724-88E7864D14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9DFF39-5E43-48E2-9EFF-2D683C96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871A0-E8AF-4FE1-BDD2-398213C1B24D}" type="datetime1">
              <a:rPr lang="en-US" smtClean="0"/>
              <a:t>6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174CD7-52A2-403C-9CD0-C0E93B4D0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99E2-B938-4815-8F77-D2860FFC1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2361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7 Bulletpoint tex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DA646D-5F97-9D8A-4598-A0C98D4634E0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115B87B-934C-0F92-5F93-D343BD44B66C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28D676-DD53-1C54-82A5-88434E06B3E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5A16F44-B403-571B-AD0A-B6A86614B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1601030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8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92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786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tx1"/>
                </a:solidFill>
              </a:defRPr>
            </a:lvl2pPr>
            <a:lvl3pPr marL="784780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tx1"/>
                </a:solidFill>
              </a:defRPr>
            </a:lvl3pPr>
            <a:lvl4pPr marL="1024774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tx1"/>
                </a:solidFill>
              </a:defRPr>
            </a:lvl4pPr>
            <a:lvl5pPr marL="1276168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68" marR="0" lvl="4" indent="-30479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B696985-1EFA-02D0-106A-9F81CEBC3FA1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F7E5B4-21F0-0696-BF4F-8AFCA8103CD7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7755C10-FC21-4D9F-8DA4-A30B437ABD1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DDC4B182-BD0E-D0F1-793C-A6CE500EA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6283319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9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06DFA0-C2BA-C581-C314-740F6D8A7079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1F327B-603C-86B8-9F24-AB86561B3C06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24B9E5-9DF5-72DD-49F0-33455A6A12D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D779461-EFB5-C35B-DE08-509687C826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933861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0 Title slide with me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294B94FF-B007-7648-0008-A471B34C4C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9BA26F-4B98-6DDA-4965-A8BCB0A90C5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218EC66-6293-FC0C-C8AC-A21153E5703B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316F68-F558-B048-EF20-3133405450BF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535B119-5E07-6658-028F-A2E92F84E1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0779533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1 Title slide with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A9C292-FC1E-4CD0-D1C2-1C1BF0964A4B}"/>
              </a:ext>
            </a:extLst>
          </p:cNvPr>
          <p:cNvSpPr/>
          <p:nvPr userDrawn="1"/>
        </p:nvSpPr>
        <p:spPr>
          <a:xfrm flipH="1">
            <a:off x="-14515" y="0"/>
            <a:ext cx="5080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400"/>
              </a:spcAft>
              <a:buSzPct val="100000"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ADE2C08-8C2F-6DA1-140F-78B7C3839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3" name="Text Placeholder 42">
            <a:extLst>
              <a:ext uri="{FF2B5EF4-FFF2-40B4-BE49-F238E27FC236}">
                <a16:creationId xmlns:a16="http://schemas.microsoft.com/office/drawing/2014/main" id="{076F2482-56A5-DF69-EDAB-369E53244A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9EE67559-07A5-8DC0-5F9E-74889395C5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8C92FD-B39B-95B0-724C-D1AA2268DE2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172D6B9-A8FE-EBFF-D93D-5EB12C01965D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AF35F11C-FBF2-64A9-BC5E-546156F77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EFF7564F-7000-1BEA-AD06-C8104C4313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423906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4007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1567678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3 Title slide with me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2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05DD94-B1D7-AF62-87C9-7EF3B816BC50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A45A5E-8155-944F-17C0-E8C2DF0291BF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60D9BC-D30D-1466-7616-8C7936E38CF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FEC4AEB-8265-3816-B1A7-81B4297B5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1147301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4 Title slide with me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2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2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4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69DAC9-98D0-DE29-0854-C322936DF8E9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B783F8-E852-2880-7AC7-93C221C8FF1B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9725E7-2EC0-E3B5-3DB0-057A690FD95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F00D657-7150-C4CD-A10F-64140FBB3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0244193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1 Title slide with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A9C292-FC1E-4CD0-D1C2-1C1BF0964A4B}"/>
              </a:ext>
            </a:extLst>
          </p:cNvPr>
          <p:cNvSpPr/>
          <p:nvPr userDrawn="1"/>
        </p:nvSpPr>
        <p:spPr>
          <a:xfrm flipH="1">
            <a:off x="-14515" y="0"/>
            <a:ext cx="5080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400"/>
              </a:spcAft>
              <a:buSzPct val="100000"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ADE2C08-8C2F-6DA1-140F-78B7C3839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3" name="Text Placeholder 42">
            <a:extLst>
              <a:ext uri="{FF2B5EF4-FFF2-40B4-BE49-F238E27FC236}">
                <a16:creationId xmlns:a16="http://schemas.microsoft.com/office/drawing/2014/main" id="{076F2482-56A5-DF69-EDAB-369E53244A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9EE67559-07A5-8DC0-5F9E-74889395C5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8C92FD-B39B-95B0-724C-D1AA2268DE2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172D6B9-A8FE-EBFF-D93D-5EB12C01965D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AF35F11C-FBF2-64A9-BC5E-546156F77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EFF7564F-7000-1BEA-AD06-C8104C4313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423906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18003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377847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EFF84B-768D-4DF1-AAB7-F62BE3952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357FF-C7E7-4326-A5B9-E049DEA66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8F6B-8CA4-433B-9F9F-E843A62619FC}" type="datetime1">
              <a:rPr lang="en-US" smtClean="0"/>
              <a:t>6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93A54E-FBC7-44DD-A817-34C2F850A1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B5252E-F471-48E2-9C61-46E4B3B17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0556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3 Title slide with me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05DD94-B1D7-AF62-87C9-7EF3B816BC50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A45A5E-8155-944F-17C0-E8C2DF0291BF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60D9BC-D30D-1466-7616-8C7936E38CF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FEC4AEB-8265-3816-B1A7-81B4297B5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153144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4 Title slide with me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1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69DAC9-98D0-DE29-0854-C322936DF8E9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B783F8-E852-2880-7AC7-93C221C8FF1B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9725E7-2EC0-E3B5-3DB0-057A690FD95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F00D657-7150-C4CD-A10F-64140FBB3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3085452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1 Blank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2D48F3-5FAB-7137-F8DD-66420388FACA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0EFD0E-73A9-D773-3F8A-B9B78A9503C6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7EEC03-3391-E652-F649-78782CA2435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021FBAF-6C06-6FF4-B424-967A0139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8116209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Title dark">
    <p:bg>
      <p:bgPr>
        <a:gradFill>
          <a:gsLst>
            <a:gs pos="53100">
              <a:schemeClr val="accent1">
                <a:lumMod val="59000"/>
              </a:schemeClr>
            </a:gs>
            <a:gs pos="0">
              <a:schemeClr val="tx1">
                <a:lumMod val="96000"/>
              </a:schemeClr>
            </a:gs>
            <a:gs pos="100000">
              <a:schemeClr val="accent1">
                <a:lumMod val="30000"/>
              </a:schemeClr>
            </a:gs>
          </a:gsLst>
          <a:lin ang="12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423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1pPr>
            <a:lvl2pPr marL="23999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2pPr>
            <a:lvl3pPr marL="479988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3pPr>
            <a:lvl4pPr marL="71998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4pPr>
            <a:lvl5pPr marL="95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06B219-6557-5951-F467-43B768A9C96C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F66938-CF4B-D097-1BC6-18EB230030F4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929F03-682A-4566-CF9F-D3B71DB4575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E177B5-71D7-398C-03E7-932A7015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6777788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5407300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5 Bulletpoint text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A67328-00EF-5713-CA06-6BF95B775913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75580-5FAF-E6C5-DFED-1F462D82E3A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21FDDB-B801-EAA3-9D13-40103E7AC2C1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5EB5894-B0A6-D8F1-AD97-D6E4D056DD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1432195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6 Bulletpoint tex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0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8E66B8-C798-B992-2C68-B85351E1170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A67C43-66D6-847E-98DC-61F9029ECC0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3A8A5F-292F-2AC1-C1B0-A59D33F93A2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A1277FE0-ECBC-0B62-6936-4A9C8E1CE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8022284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7 Bulletpoint tex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DA646D-5F97-9D8A-4598-A0C98D4634E0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115B87B-934C-0F92-5F93-D343BD44B66C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28D676-DD53-1C54-82A5-88434E06B3E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5A16F44-B403-571B-AD0A-B6A86614B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6598029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8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92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786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tx1"/>
                </a:solidFill>
              </a:defRPr>
            </a:lvl2pPr>
            <a:lvl3pPr marL="784780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tx1"/>
                </a:solidFill>
              </a:defRPr>
            </a:lvl3pPr>
            <a:lvl4pPr marL="1024774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tx1"/>
                </a:solidFill>
              </a:defRPr>
            </a:lvl4pPr>
            <a:lvl5pPr marL="1276168" indent="-3047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68" marR="0" lvl="4" indent="-30479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B696985-1EFA-02D0-106A-9F81CEBC3FA1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F7E5B4-21F0-0696-BF4F-8AFCA8103CD7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7755C10-FC21-4D9F-8DA4-A30B437ABD1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DDC4B182-BD0E-D0F1-793C-A6CE500EA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437577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374F45-9F3E-4023-AE14-BA2A6B232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CD8A69-5E97-4ABA-9DFB-4ECAB04214D1}" type="datetime1">
              <a:rPr lang="en-US" smtClean="0"/>
              <a:t>6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512C78-1432-41E0-B4C7-803F0F2FE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EF0A2C-EF42-4FB6-9BF7-B3D85FC9E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94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9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06DFA0-C2BA-C581-C314-740F6D8A7079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1F327B-603C-86B8-9F24-AB86561B3C0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24B9E5-9DF5-72DD-49F0-33455A6A12D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D779461-EFB5-C35B-DE08-509687C826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8478978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0 Title slide with me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294B94FF-B007-7648-0008-A471B34C4C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6800" y="1440001"/>
            <a:ext cx="11078400" cy="23473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867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9BA26F-4B98-6DDA-4965-A8BCB0A90C5D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218EC66-6293-FC0C-C8AC-A21153E5703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316F68-F558-B048-EF20-3133405450BF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535B119-5E07-6658-028F-A2E92F84E1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44660644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11 Title slide with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A9C292-FC1E-4CD0-D1C2-1C1BF0964A4B}"/>
              </a:ext>
            </a:extLst>
          </p:cNvPr>
          <p:cNvSpPr/>
          <p:nvPr userDrawn="1"/>
        </p:nvSpPr>
        <p:spPr>
          <a:xfrm flipH="1">
            <a:off x="-14515" y="0"/>
            <a:ext cx="5080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400"/>
              </a:spcAft>
              <a:buSzPct val="100000"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ADE2C08-8C2F-6DA1-140F-78B7C3839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13" name="Text Placeholder 42">
            <a:extLst>
              <a:ext uri="{FF2B5EF4-FFF2-40B4-BE49-F238E27FC236}">
                <a16:creationId xmlns:a16="http://schemas.microsoft.com/office/drawing/2014/main" id="{076F2482-56A5-DF69-EDAB-369E53244A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9EE67559-07A5-8DC0-5F9E-74889395C5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23872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8C92FD-B39B-95B0-724C-D1AA2268DE24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172D6B9-A8FE-EBFF-D93D-5EB12C01965D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AF35F11C-FBF2-64A9-BC5E-546156F77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EFF7564F-7000-1BEA-AD06-C8104C4313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423906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1551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66714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8420" y="0"/>
            <a:ext cx="54864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667140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490169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13 Title slide with me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1" y="527928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455402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455402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6400" y="0"/>
            <a:ext cx="67056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05DD94-B1D7-AF62-87C9-7EF3B816BC50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A45A5E-8155-944F-17C0-E8C2DF0291BF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60D9BC-D30D-1466-7616-8C7936E38CF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FEC4AEB-8265-3816-B1A7-81B4297B5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936062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14 Title slide with me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801" y="527928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1" y="1019360"/>
            <a:ext cx="329418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3" y="1680000"/>
            <a:ext cx="3294188" cy="438912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69DAC9-98D0-DE29-0854-C322936DF8E9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B783F8-E852-2880-7AC7-93C221C8FF1B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9725E7-2EC0-E3B5-3DB0-057A690FD954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F00D657-7150-C4CD-A10F-64140FBB3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63952351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1 Blank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2D48F3-5FAB-7137-F8DD-66420388FACA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0EFD0E-73A9-D773-3F8A-B9B78A9503C6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7EEC03-3391-E652-F649-78782CA24357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021FBAF-6C06-6FF4-B424-967A0139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019269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2 Title dark">
    <p:bg>
      <p:bgPr>
        <a:gradFill>
          <a:gsLst>
            <a:gs pos="53100">
              <a:schemeClr val="accent1">
                <a:lumMod val="59000"/>
              </a:schemeClr>
            </a:gs>
            <a:gs pos="0">
              <a:schemeClr val="tx1">
                <a:lumMod val="96000"/>
              </a:schemeClr>
            </a:gs>
            <a:gs pos="100000">
              <a:schemeClr val="accent1">
                <a:lumMod val="30000"/>
              </a:schemeClr>
            </a:gs>
          </a:gsLst>
          <a:lin ang="12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3930" y="6330072"/>
            <a:ext cx="1296000" cy="29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1265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2 Title dark">
    <p:bg>
      <p:bgPr>
        <a:gradFill>
          <a:gsLst>
            <a:gs pos="53100">
              <a:schemeClr val="accent1">
                <a:lumMod val="59000"/>
              </a:schemeClr>
            </a:gs>
            <a:gs pos="0">
              <a:schemeClr val="tx1">
                <a:lumMod val="96000"/>
              </a:schemeClr>
            </a:gs>
            <a:gs pos="100000">
              <a:schemeClr val="accent1">
                <a:lumMod val="30000"/>
              </a:schemeClr>
            </a:gs>
          </a:gsLst>
          <a:lin ang="12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86357" y="6330072"/>
            <a:ext cx="1296000" cy="292019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4766257-3EDE-0532-1C29-76FEF5AEC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0340" y="6330072"/>
            <a:ext cx="2444097" cy="29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17967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2 Title dark">
    <p:bg>
      <p:bgPr>
        <a:gradFill>
          <a:gsLst>
            <a:gs pos="53100">
              <a:schemeClr val="accent1">
                <a:lumMod val="59000"/>
              </a:schemeClr>
            </a:gs>
            <a:gs pos="0">
              <a:schemeClr val="tx1">
                <a:lumMod val="96000"/>
              </a:schemeClr>
            </a:gs>
            <a:gs pos="100000">
              <a:schemeClr val="accent1">
                <a:lumMod val="30000"/>
              </a:schemeClr>
            </a:gs>
          </a:gsLst>
          <a:lin ang="12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86357" y="6330072"/>
            <a:ext cx="1296000" cy="292019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4766257-3EDE-0532-1C29-76FEF5AEC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0340" y="6330072"/>
            <a:ext cx="2444097" cy="29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9883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F44ABE-59F2-4EDA-BF31-6BCEB32E3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D64D7-B803-400C-8F2A-8AEEAAF81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9E48FE-682F-4163-B7AE-A099190B50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8E257B-6A99-4B10-9EF9-1D8897277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F4ABF8-8EE5-4E0E-A50F-E3F7D55542C3}" type="datetime1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1B588-91FB-44BE-A5AA-9C488DFB8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ACF8D9-BD64-4D1C-96D8-A94A0C504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5377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05186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05186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4" y="0"/>
            <a:ext cx="6096001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051868" cy="4389120"/>
          </a:xfrm>
          <a:prstGeom prst="rect">
            <a:avLst/>
          </a:prstGeom>
        </p:spPr>
        <p:txBody>
          <a:bodyPr lIns="0" tIns="0" rIns="0" bIns="0"/>
          <a:lstStyle>
            <a:lvl1pPr marL="239983" indent="-23998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1pPr>
            <a:lvl2pPr marL="479964" indent="-23998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2pPr>
            <a:lvl3pPr marL="719947" indent="-23998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3pPr>
            <a:lvl4pPr marL="959928" indent="-23998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4pPr>
            <a:lvl5pPr marL="1199911" indent="-23998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906707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397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99" y="527928"/>
            <a:ext cx="505186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799" y="1019360"/>
            <a:ext cx="5051868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2" y="0"/>
            <a:ext cx="6096001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451" y="1680000"/>
            <a:ext cx="5051868" cy="438912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09"/>
            <a:ext cx="166712" cy="16421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21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FF79836-BBB3-F465-E1C5-425AB4A83E4B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E9A04A-3145-3809-19A7-33EF3021A9A7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C3DF80-A3E4-DDDB-D584-7BEE3A84C96D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6E76675-E286-0D90-FB5C-6C96371234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4820798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1pPr>
            <a:lvl2pPr marL="23998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2pPr>
            <a:lvl3pPr marL="479976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3pPr>
            <a:lvl4pPr marL="71996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4pPr>
            <a:lvl5pPr marL="959952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06B219-6557-5951-F467-43B768A9C96C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F66938-CF4B-D097-1BC6-18EB230030F4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929F03-682A-4566-CF9F-D3B71DB45756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E177B5-71D7-398C-03E7-932A7015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95540952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8698590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5 Bulletpoint text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11552" y="1680000"/>
            <a:ext cx="5424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A67328-00EF-5713-CA06-6BF95B775913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75580-5FAF-E6C5-DFED-1F462D82E3A6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21FDDB-B801-EAA3-9D13-40103E7AC2C1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5EB5894-B0A6-D8F1-AD97-D6E4D056DD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1522404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6 Bulletpoint tex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6000" y="1680000"/>
            <a:ext cx="360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5551" y="1680000"/>
            <a:ext cx="3596877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8E66B8-C798-B992-2C68-B85351E1170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A67C43-66D6-847E-98DC-61F9029ECC0B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3A8A5F-292F-2AC1-C1B0-A59D33F93A2B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A1277FE0-ECBC-0B62-6936-4A9C8E1CE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3505602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7 Bulletpoint tex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68443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0435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92427" y="1680000"/>
            <a:ext cx="2640000" cy="4158640"/>
          </a:xfrm>
          <a:prstGeom prst="rect">
            <a:avLst/>
          </a:prstGeom>
        </p:spPr>
        <p:txBody>
          <a:bodyPr lIns="0" tIns="0" rIns="0" bIns="0"/>
          <a:lstStyle>
            <a:lvl1pPr marL="239989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76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65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52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41" indent="-23998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28" indent="-239989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28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DA646D-5F97-9D8A-4598-A0C98D4634E0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115B87B-934C-0F92-5F93-D343BD44B66C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28D676-DD53-1C54-82A5-88434E06B3E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5A16F44-B403-571B-AD0A-B6A86614B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425117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8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6800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304784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773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2"/>
              <a:defRPr sz="1600">
                <a:solidFill>
                  <a:schemeClr val="tx1"/>
                </a:solidFill>
              </a:defRPr>
            </a:lvl2pPr>
            <a:lvl3pPr marL="784760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  <a:defRPr sz="1600">
                <a:solidFill>
                  <a:schemeClr val="tx1"/>
                </a:solidFill>
              </a:defRPr>
            </a:lvl3pPr>
            <a:lvl4pPr marL="1024749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4"/>
              <a:defRPr sz="1600">
                <a:solidFill>
                  <a:schemeClr val="tx1"/>
                </a:solidFill>
              </a:defRPr>
            </a:lvl4pPr>
            <a:lvl5pPr marL="1276136" indent="-30478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1276136" marR="0" lvl="4" indent="-3047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3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B696985-1EFA-02D0-106A-9F81CEBC3FA1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F7E5B4-21F0-0696-BF4F-8AFCA8103CD7}"/>
              </a:ext>
            </a:extLst>
          </p:cNvPr>
          <p:cNvSpPr txBox="1">
            <a:spLocks/>
          </p:cNvSpPr>
          <p:nvPr userDrawn="1"/>
        </p:nvSpPr>
        <p:spPr>
          <a:xfrm>
            <a:off x="558804" y="6313801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7755C10-FC21-4D9F-8DA4-A30B437ABD12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DDC4B182-BD0E-D0F1-793C-A6CE500EA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522752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800" y="527928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6800" y="1019360"/>
            <a:ext cx="11078400" cy="454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6451" y="1680000"/>
            <a:ext cx="11078400" cy="4158640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1pPr>
            <a:lvl2pPr marL="479988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2pPr>
            <a:lvl3pPr marL="719982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3pPr>
            <a:lvl4pPr marL="959976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70000"/>
              <a:defRPr sz="1600">
                <a:solidFill>
                  <a:schemeClr val="tx1"/>
                </a:solidFill>
              </a:defRPr>
            </a:lvl5pPr>
            <a:lvl6pPr marL="1439964" indent="-239994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6pPr>
            <a:lvl7pPr marL="1439964"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6427" y="6320612"/>
            <a:ext cx="1296000" cy="2920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906705" y="6478074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558803" y="6313799"/>
            <a:ext cx="156027" cy="3284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87148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6400" y="6480000"/>
            <a:ext cx="2112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77042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B604D-1A80-4A34-9CBC-C8326B2C11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1BD595-839E-4B98-889C-24375FBD5F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19ADE8-12CB-4CC6-B359-A1284BD50C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318124-35D8-4FF7-8F32-CF96834DB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57B0B-9701-487E-A13E-7D1E975F557E}" type="datetime1">
              <a:rPr lang="en-US" smtClean="0"/>
              <a:t>6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1F1DBD-B928-4152-8209-BCD9FD2F8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8424A7-2AAC-4453-9F73-E3E7610FC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3124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20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-1200"/>
            <a:ext cx="6859200" cy="68592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200"/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649972" y="5976901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F7AE0E-D196-9918-5EDB-E9F6D1F5BFCD}"/>
              </a:ext>
            </a:extLst>
          </p:cNvPr>
          <p:cNvSpPr txBox="1"/>
          <p:nvPr userDrawn="1"/>
        </p:nvSpPr>
        <p:spPr>
          <a:xfrm>
            <a:off x="10793089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E77B206-49F7-2B3D-46F6-5783EB06549D}"/>
              </a:ext>
            </a:extLst>
          </p:cNvPr>
          <p:cNvSpPr txBox="1">
            <a:spLocks/>
          </p:cNvSpPr>
          <p:nvPr userDrawn="1"/>
        </p:nvSpPr>
        <p:spPr>
          <a:xfrm>
            <a:off x="10445185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CDCE65-9D09-8014-E0D4-FA37C5A409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7197" y="959734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50AD0AE-26A9-7041-BAC9-7726260DC4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7199" y="2834800"/>
            <a:ext cx="6528000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1804430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A3B12B3-A799-7EB4-75DA-BC0A7D701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EDD8338-5A64-469A-E2DB-DF91FC1856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B79C81-C7D6-4DE3-0A04-D7E02DD8C66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910EA0-FECD-D7DE-120C-8BC301ED58FF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70697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647D8A-35E4-5375-137D-AE3FBB59F9F8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7E9E3A5-43FE-813E-B36E-00A287E16B3E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CA265AEB-E893-7C5A-2089-F8668DD28E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9A21839-5A3E-48C8-8C8A-66E6CF919C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0664076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9308199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6835702" y="-6395"/>
            <a:ext cx="5356300" cy="685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54EB9F-8927-A3FE-8B84-2A5DA2E7EB1F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1049C86-481E-BCA9-382A-A561EA22CA19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06AC820-889D-342D-C4F1-65579046FE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8C0E4A4-2F9E-C493-382A-9CBF0ED8AD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06100607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084"/>
          <a:stretch/>
        </p:blipFill>
        <p:spPr>
          <a:xfrm>
            <a:off x="6835702" y="0"/>
            <a:ext cx="53563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7A7115-EA83-4FF6-C9AA-23524B051F64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832A1-1A29-5A85-3CD7-02108B35D949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2EB43E8F-27C8-8759-7A98-CAA935E78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1200002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8D2D46-B066-616E-7306-CE64233C7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3120002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5752602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9942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8B4807D-C6CB-B42F-7CAC-4B1E0264A613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A5600B8-EF33-4C46-87E9-1A51B9580A90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BF972D4-3000-87A0-9E6C-C622A2B7C6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6269271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797EE9-5364-FAE7-B29C-8C7E9DCF2A6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674039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Life in the fast lane</a:t>
            </a:r>
          </a:p>
        </p:txBody>
      </p:sp>
    </p:spTree>
    <p:extLst>
      <p:ext uri="{BB962C8B-B14F-4D97-AF65-F5344CB8AC3E}">
        <p14:creationId xmlns:p14="http://schemas.microsoft.com/office/powerpoint/2010/main" val="53025269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6623541" y="0"/>
            <a:ext cx="5568459" cy="6859200"/>
          </a:xfrm>
          <a:prstGeom prst="rect">
            <a:avLst/>
          </a:prstGeom>
        </p:spPr>
      </p:pic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B2D474A-4156-5445-2C99-EE4C77388F5D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A5D471E-8C81-0943-5022-F263A707E608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024AFDB3-6F7B-B778-402E-9CCB281E4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3B31AA-DB5D-E4EE-AD2B-9C376313D5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25561117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6622168" y="0"/>
            <a:ext cx="5569832" cy="68592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9407772" y="3224293"/>
            <a:ext cx="1817989" cy="409417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20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A4D82E9-DEF8-D842-DDB5-563D618E7945}"/>
              </a:ext>
            </a:extLst>
          </p:cNvPr>
          <p:cNvSpPr txBox="1"/>
          <p:nvPr userDrawn="1"/>
        </p:nvSpPr>
        <p:spPr>
          <a:xfrm>
            <a:off x="906706" y="6478075"/>
            <a:ext cx="842111" cy="164148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1067" noProof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B92B7B9-0B45-FE4B-753A-4D8C0E23E619}"/>
              </a:ext>
            </a:extLst>
          </p:cNvPr>
          <p:cNvSpPr txBox="1">
            <a:spLocks/>
          </p:cNvSpPr>
          <p:nvPr userDrawn="1"/>
        </p:nvSpPr>
        <p:spPr>
          <a:xfrm>
            <a:off x="558803" y="6478010"/>
            <a:ext cx="166712" cy="16421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1067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333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838942B2-5BE5-A3D6-4570-6AF07089F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708" y="2179566"/>
            <a:ext cx="6528000" cy="165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48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51E6336-7A1E-2850-2562-4FDD760F4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709" y="4079616"/>
            <a:ext cx="5213179" cy="7879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30718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867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61677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923954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333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1231139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538324" indent="0">
              <a:spcBef>
                <a:spcPts val="0"/>
              </a:spcBef>
              <a:spcAft>
                <a:spcPts val="800"/>
              </a:spcAft>
              <a:buFont typeface="Nokia Pure Text" panose="020B0503020202020204" pitchFamily="34" charset="0"/>
              <a:buNone/>
              <a:defRPr sz="1067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845509" indent="0">
              <a:spcBef>
                <a:spcPts val="0"/>
              </a:spcBef>
              <a:spcAft>
                <a:spcPts val="800"/>
              </a:spcAft>
              <a:buNone/>
              <a:defRPr sz="933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2152693" indent="0">
              <a:spcBef>
                <a:spcPts val="0"/>
              </a:spcBef>
              <a:spcAft>
                <a:spcPts val="800"/>
              </a:spcAft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6807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50.xml"/><Relationship Id="rId42" Type="http://schemas.openxmlformats.org/officeDocument/2006/relationships/slideLayout" Target="../slideLayouts/slideLayout71.xml"/><Relationship Id="rId63" Type="http://schemas.openxmlformats.org/officeDocument/2006/relationships/slideLayout" Target="../slideLayouts/slideLayout92.xml"/><Relationship Id="rId84" Type="http://schemas.openxmlformats.org/officeDocument/2006/relationships/slideLayout" Target="../slideLayouts/slideLayout113.xml"/><Relationship Id="rId138" Type="http://schemas.openxmlformats.org/officeDocument/2006/relationships/slideLayout" Target="../slideLayouts/slideLayout167.xml"/><Relationship Id="rId159" Type="http://schemas.openxmlformats.org/officeDocument/2006/relationships/slideLayout" Target="../slideLayouts/slideLayout188.xml"/><Relationship Id="rId170" Type="http://schemas.openxmlformats.org/officeDocument/2006/relationships/slideLayout" Target="../slideLayouts/slideLayout199.xml"/><Relationship Id="rId191" Type="http://schemas.openxmlformats.org/officeDocument/2006/relationships/slideLayout" Target="../slideLayouts/slideLayout220.xml"/><Relationship Id="rId205" Type="http://schemas.openxmlformats.org/officeDocument/2006/relationships/slideLayout" Target="../slideLayouts/slideLayout234.xml"/><Relationship Id="rId107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61.xml"/><Relationship Id="rId53" Type="http://schemas.openxmlformats.org/officeDocument/2006/relationships/slideLayout" Target="../slideLayouts/slideLayout82.xml"/><Relationship Id="rId74" Type="http://schemas.openxmlformats.org/officeDocument/2006/relationships/slideLayout" Target="../slideLayouts/slideLayout103.xml"/><Relationship Id="rId128" Type="http://schemas.openxmlformats.org/officeDocument/2006/relationships/slideLayout" Target="../slideLayouts/slideLayout157.xml"/><Relationship Id="rId149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34.xml"/><Relationship Id="rId95" Type="http://schemas.openxmlformats.org/officeDocument/2006/relationships/slideLayout" Target="../slideLayouts/slideLayout124.xml"/><Relationship Id="rId160" Type="http://schemas.openxmlformats.org/officeDocument/2006/relationships/slideLayout" Target="../slideLayouts/slideLayout189.xml"/><Relationship Id="rId181" Type="http://schemas.openxmlformats.org/officeDocument/2006/relationships/slideLayout" Target="../slideLayouts/slideLayout210.xml"/><Relationship Id="rId216" Type="http://schemas.openxmlformats.org/officeDocument/2006/relationships/slideLayout" Target="../slideLayouts/slideLayout245.xml"/><Relationship Id="rId22" Type="http://schemas.openxmlformats.org/officeDocument/2006/relationships/slideLayout" Target="../slideLayouts/slideLayout51.xml"/><Relationship Id="rId43" Type="http://schemas.openxmlformats.org/officeDocument/2006/relationships/slideLayout" Target="../slideLayouts/slideLayout72.xml"/><Relationship Id="rId64" Type="http://schemas.openxmlformats.org/officeDocument/2006/relationships/slideLayout" Target="../slideLayouts/slideLayout93.xml"/><Relationship Id="rId118" Type="http://schemas.openxmlformats.org/officeDocument/2006/relationships/slideLayout" Target="../slideLayouts/slideLayout147.xml"/><Relationship Id="rId139" Type="http://schemas.openxmlformats.org/officeDocument/2006/relationships/slideLayout" Target="../slideLayouts/slideLayout168.xml"/><Relationship Id="rId85" Type="http://schemas.openxmlformats.org/officeDocument/2006/relationships/slideLayout" Target="../slideLayouts/slideLayout114.xml"/><Relationship Id="rId150" Type="http://schemas.openxmlformats.org/officeDocument/2006/relationships/slideLayout" Target="../slideLayouts/slideLayout179.xml"/><Relationship Id="rId171" Type="http://schemas.openxmlformats.org/officeDocument/2006/relationships/slideLayout" Target="../slideLayouts/slideLayout200.xml"/><Relationship Id="rId192" Type="http://schemas.openxmlformats.org/officeDocument/2006/relationships/slideLayout" Target="../slideLayouts/slideLayout221.xml"/><Relationship Id="rId206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62.xml"/><Relationship Id="rId108" Type="http://schemas.openxmlformats.org/officeDocument/2006/relationships/slideLayout" Target="../slideLayouts/slideLayout137.xml"/><Relationship Id="rId129" Type="http://schemas.openxmlformats.org/officeDocument/2006/relationships/slideLayout" Target="../slideLayouts/slideLayout158.xml"/><Relationship Id="rId54" Type="http://schemas.openxmlformats.org/officeDocument/2006/relationships/slideLayout" Target="../slideLayouts/slideLayout83.xml"/><Relationship Id="rId75" Type="http://schemas.openxmlformats.org/officeDocument/2006/relationships/slideLayout" Target="../slideLayouts/slideLayout104.xml"/><Relationship Id="rId96" Type="http://schemas.openxmlformats.org/officeDocument/2006/relationships/slideLayout" Target="../slideLayouts/slideLayout125.xml"/><Relationship Id="rId140" Type="http://schemas.openxmlformats.org/officeDocument/2006/relationships/slideLayout" Target="../slideLayouts/slideLayout169.xml"/><Relationship Id="rId161" Type="http://schemas.openxmlformats.org/officeDocument/2006/relationships/slideLayout" Target="../slideLayouts/slideLayout190.xml"/><Relationship Id="rId182" Type="http://schemas.openxmlformats.org/officeDocument/2006/relationships/slideLayout" Target="../slideLayouts/slideLayout211.xml"/><Relationship Id="rId217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52.xml"/><Relationship Id="rId119" Type="http://schemas.openxmlformats.org/officeDocument/2006/relationships/slideLayout" Target="../slideLayouts/slideLayout148.xml"/><Relationship Id="rId44" Type="http://schemas.openxmlformats.org/officeDocument/2006/relationships/slideLayout" Target="../slideLayouts/slideLayout73.xml"/><Relationship Id="rId65" Type="http://schemas.openxmlformats.org/officeDocument/2006/relationships/slideLayout" Target="../slideLayouts/slideLayout94.xml"/><Relationship Id="rId86" Type="http://schemas.openxmlformats.org/officeDocument/2006/relationships/slideLayout" Target="../slideLayouts/slideLayout115.xml"/><Relationship Id="rId130" Type="http://schemas.openxmlformats.org/officeDocument/2006/relationships/slideLayout" Target="../slideLayouts/slideLayout159.xml"/><Relationship Id="rId151" Type="http://schemas.openxmlformats.org/officeDocument/2006/relationships/slideLayout" Target="../slideLayouts/slideLayout180.xml"/><Relationship Id="rId172" Type="http://schemas.openxmlformats.org/officeDocument/2006/relationships/slideLayout" Target="../slideLayouts/slideLayout201.xml"/><Relationship Id="rId193" Type="http://schemas.openxmlformats.org/officeDocument/2006/relationships/slideLayout" Target="../slideLayouts/slideLayout222.xml"/><Relationship Id="rId207" Type="http://schemas.openxmlformats.org/officeDocument/2006/relationships/slideLayout" Target="../slideLayouts/slideLayout236.xml"/><Relationship Id="rId13" Type="http://schemas.openxmlformats.org/officeDocument/2006/relationships/slideLayout" Target="../slideLayouts/slideLayout42.xml"/><Relationship Id="rId109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84.xml"/><Relationship Id="rId76" Type="http://schemas.openxmlformats.org/officeDocument/2006/relationships/slideLayout" Target="../slideLayouts/slideLayout105.xml"/><Relationship Id="rId97" Type="http://schemas.openxmlformats.org/officeDocument/2006/relationships/slideLayout" Target="../slideLayouts/slideLayout126.xml"/><Relationship Id="rId120" Type="http://schemas.openxmlformats.org/officeDocument/2006/relationships/slideLayout" Target="../slideLayouts/slideLayout149.xml"/><Relationship Id="rId141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36.xml"/><Relationship Id="rId162" Type="http://schemas.openxmlformats.org/officeDocument/2006/relationships/slideLayout" Target="../slideLayouts/slideLayout191.xml"/><Relationship Id="rId183" Type="http://schemas.openxmlformats.org/officeDocument/2006/relationships/slideLayout" Target="../slideLayouts/slideLayout212.xml"/><Relationship Id="rId218" Type="http://schemas.openxmlformats.org/officeDocument/2006/relationships/slideLayout" Target="../slideLayouts/slideLayout247.xml"/><Relationship Id="rId24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74.xml"/><Relationship Id="rId66" Type="http://schemas.openxmlformats.org/officeDocument/2006/relationships/slideLayout" Target="../slideLayouts/slideLayout95.xml"/><Relationship Id="rId87" Type="http://schemas.openxmlformats.org/officeDocument/2006/relationships/slideLayout" Target="../slideLayouts/slideLayout116.xml"/><Relationship Id="rId110" Type="http://schemas.openxmlformats.org/officeDocument/2006/relationships/slideLayout" Target="../slideLayouts/slideLayout139.xml"/><Relationship Id="rId131" Type="http://schemas.openxmlformats.org/officeDocument/2006/relationships/slideLayout" Target="../slideLayouts/slideLayout160.xml"/><Relationship Id="rId152" Type="http://schemas.openxmlformats.org/officeDocument/2006/relationships/slideLayout" Target="../slideLayouts/slideLayout181.xml"/><Relationship Id="rId173" Type="http://schemas.openxmlformats.org/officeDocument/2006/relationships/slideLayout" Target="../slideLayouts/slideLayout202.xml"/><Relationship Id="rId194" Type="http://schemas.openxmlformats.org/officeDocument/2006/relationships/slideLayout" Target="../slideLayouts/slideLayout223.xml"/><Relationship Id="rId208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64.xml"/><Relationship Id="rId56" Type="http://schemas.openxmlformats.org/officeDocument/2006/relationships/slideLayout" Target="../slideLayouts/slideLayout85.xml"/><Relationship Id="rId77" Type="http://schemas.openxmlformats.org/officeDocument/2006/relationships/slideLayout" Target="../slideLayouts/slideLayout106.xml"/><Relationship Id="rId100" Type="http://schemas.openxmlformats.org/officeDocument/2006/relationships/slideLayout" Target="../slideLayouts/slideLayout129.xml"/><Relationship Id="rId8" Type="http://schemas.openxmlformats.org/officeDocument/2006/relationships/slideLayout" Target="../slideLayouts/slideLayout37.xml"/><Relationship Id="rId98" Type="http://schemas.openxmlformats.org/officeDocument/2006/relationships/slideLayout" Target="../slideLayouts/slideLayout127.xml"/><Relationship Id="rId121" Type="http://schemas.openxmlformats.org/officeDocument/2006/relationships/slideLayout" Target="../slideLayouts/slideLayout150.xml"/><Relationship Id="rId142" Type="http://schemas.openxmlformats.org/officeDocument/2006/relationships/slideLayout" Target="../slideLayouts/slideLayout171.xml"/><Relationship Id="rId163" Type="http://schemas.openxmlformats.org/officeDocument/2006/relationships/slideLayout" Target="../slideLayouts/slideLayout192.xml"/><Relationship Id="rId184" Type="http://schemas.openxmlformats.org/officeDocument/2006/relationships/slideLayout" Target="../slideLayouts/slideLayout213.xml"/><Relationship Id="rId219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32.xml"/><Relationship Id="rId214" Type="http://schemas.openxmlformats.org/officeDocument/2006/relationships/slideLayout" Target="../slideLayouts/slideLayout243.xml"/><Relationship Id="rId25" Type="http://schemas.openxmlformats.org/officeDocument/2006/relationships/slideLayout" Target="../slideLayouts/slideLayout54.xml"/><Relationship Id="rId46" Type="http://schemas.openxmlformats.org/officeDocument/2006/relationships/slideLayout" Target="../slideLayouts/slideLayout75.xml"/><Relationship Id="rId67" Type="http://schemas.openxmlformats.org/officeDocument/2006/relationships/slideLayout" Target="../slideLayouts/slideLayout96.xml"/><Relationship Id="rId116" Type="http://schemas.openxmlformats.org/officeDocument/2006/relationships/slideLayout" Target="../slideLayouts/slideLayout145.xml"/><Relationship Id="rId137" Type="http://schemas.openxmlformats.org/officeDocument/2006/relationships/slideLayout" Target="../slideLayouts/slideLayout166.xml"/><Relationship Id="rId158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49.xml"/><Relationship Id="rId41" Type="http://schemas.openxmlformats.org/officeDocument/2006/relationships/slideLayout" Target="../slideLayouts/slideLayout70.xml"/><Relationship Id="rId62" Type="http://schemas.openxmlformats.org/officeDocument/2006/relationships/slideLayout" Target="../slideLayouts/slideLayout91.xml"/><Relationship Id="rId83" Type="http://schemas.openxmlformats.org/officeDocument/2006/relationships/slideLayout" Target="../slideLayouts/slideLayout112.xml"/><Relationship Id="rId88" Type="http://schemas.openxmlformats.org/officeDocument/2006/relationships/slideLayout" Target="../slideLayouts/slideLayout117.xml"/><Relationship Id="rId111" Type="http://schemas.openxmlformats.org/officeDocument/2006/relationships/slideLayout" Target="../slideLayouts/slideLayout140.xml"/><Relationship Id="rId132" Type="http://schemas.openxmlformats.org/officeDocument/2006/relationships/slideLayout" Target="../slideLayouts/slideLayout161.xml"/><Relationship Id="rId153" Type="http://schemas.openxmlformats.org/officeDocument/2006/relationships/slideLayout" Target="../slideLayouts/slideLayout182.xml"/><Relationship Id="rId174" Type="http://schemas.openxmlformats.org/officeDocument/2006/relationships/slideLayout" Target="../slideLayouts/slideLayout203.xml"/><Relationship Id="rId179" Type="http://schemas.openxmlformats.org/officeDocument/2006/relationships/slideLayout" Target="../slideLayouts/slideLayout208.xml"/><Relationship Id="rId195" Type="http://schemas.openxmlformats.org/officeDocument/2006/relationships/slideLayout" Target="../slideLayouts/slideLayout224.xml"/><Relationship Id="rId209" Type="http://schemas.openxmlformats.org/officeDocument/2006/relationships/slideLayout" Target="../slideLayouts/slideLayout238.xml"/><Relationship Id="rId190" Type="http://schemas.openxmlformats.org/officeDocument/2006/relationships/slideLayout" Target="../slideLayouts/slideLayout219.xml"/><Relationship Id="rId204" Type="http://schemas.openxmlformats.org/officeDocument/2006/relationships/slideLayout" Target="../slideLayouts/slideLayout233.xml"/><Relationship Id="rId220" Type="http://schemas.openxmlformats.org/officeDocument/2006/relationships/slideLayout" Target="../slideLayouts/slideLayout249.xml"/><Relationship Id="rId225" Type="http://schemas.openxmlformats.org/officeDocument/2006/relationships/image" Target="../media/image2.emf"/><Relationship Id="rId15" Type="http://schemas.openxmlformats.org/officeDocument/2006/relationships/slideLayout" Target="../slideLayouts/slideLayout44.xml"/><Relationship Id="rId36" Type="http://schemas.openxmlformats.org/officeDocument/2006/relationships/slideLayout" Target="../slideLayouts/slideLayout65.xml"/><Relationship Id="rId57" Type="http://schemas.openxmlformats.org/officeDocument/2006/relationships/slideLayout" Target="../slideLayouts/slideLayout86.xml"/><Relationship Id="rId106" Type="http://schemas.openxmlformats.org/officeDocument/2006/relationships/slideLayout" Target="../slideLayouts/slideLayout135.xml"/><Relationship Id="rId127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60.xml"/><Relationship Id="rId52" Type="http://schemas.openxmlformats.org/officeDocument/2006/relationships/slideLayout" Target="../slideLayouts/slideLayout81.xml"/><Relationship Id="rId73" Type="http://schemas.openxmlformats.org/officeDocument/2006/relationships/slideLayout" Target="../slideLayouts/slideLayout102.xml"/><Relationship Id="rId78" Type="http://schemas.openxmlformats.org/officeDocument/2006/relationships/slideLayout" Target="../slideLayouts/slideLayout107.xml"/><Relationship Id="rId94" Type="http://schemas.openxmlformats.org/officeDocument/2006/relationships/slideLayout" Target="../slideLayouts/slideLayout123.xml"/><Relationship Id="rId99" Type="http://schemas.openxmlformats.org/officeDocument/2006/relationships/slideLayout" Target="../slideLayouts/slideLayout128.xml"/><Relationship Id="rId101" Type="http://schemas.openxmlformats.org/officeDocument/2006/relationships/slideLayout" Target="../slideLayouts/slideLayout130.xml"/><Relationship Id="rId122" Type="http://schemas.openxmlformats.org/officeDocument/2006/relationships/slideLayout" Target="../slideLayouts/slideLayout151.xml"/><Relationship Id="rId143" Type="http://schemas.openxmlformats.org/officeDocument/2006/relationships/slideLayout" Target="../slideLayouts/slideLayout172.xml"/><Relationship Id="rId148" Type="http://schemas.openxmlformats.org/officeDocument/2006/relationships/slideLayout" Target="../slideLayouts/slideLayout177.xml"/><Relationship Id="rId164" Type="http://schemas.openxmlformats.org/officeDocument/2006/relationships/slideLayout" Target="../slideLayouts/slideLayout193.xml"/><Relationship Id="rId169" Type="http://schemas.openxmlformats.org/officeDocument/2006/relationships/slideLayout" Target="../slideLayouts/slideLayout198.xml"/><Relationship Id="rId18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80" Type="http://schemas.openxmlformats.org/officeDocument/2006/relationships/slideLayout" Target="../slideLayouts/slideLayout209.xml"/><Relationship Id="rId210" Type="http://schemas.openxmlformats.org/officeDocument/2006/relationships/slideLayout" Target="../slideLayouts/slideLayout239.xml"/><Relationship Id="rId215" Type="http://schemas.openxmlformats.org/officeDocument/2006/relationships/slideLayout" Target="../slideLayouts/slideLayout244.xml"/><Relationship Id="rId26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76.xml"/><Relationship Id="rId68" Type="http://schemas.openxmlformats.org/officeDocument/2006/relationships/slideLayout" Target="../slideLayouts/slideLayout97.xml"/><Relationship Id="rId89" Type="http://schemas.openxmlformats.org/officeDocument/2006/relationships/slideLayout" Target="../slideLayouts/slideLayout118.xml"/><Relationship Id="rId112" Type="http://schemas.openxmlformats.org/officeDocument/2006/relationships/slideLayout" Target="../slideLayouts/slideLayout141.xml"/><Relationship Id="rId133" Type="http://schemas.openxmlformats.org/officeDocument/2006/relationships/slideLayout" Target="../slideLayouts/slideLayout162.xml"/><Relationship Id="rId154" Type="http://schemas.openxmlformats.org/officeDocument/2006/relationships/slideLayout" Target="../slideLayouts/slideLayout183.xml"/><Relationship Id="rId175" Type="http://schemas.openxmlformats.org/officeDocument/2006/relationships/slideLayout" Target="../slideLayouts/slideLayout204.xml"/><Relationship Id="rId196" Type="http://schemas.openxmlformats.org/officeDocument/2006/relationships/slideLayout" Target="../slideLayouts/slideLayout225.xml"/><Relationship Id="rId200" Type="http://schemas.openxmlformats.org/officeDocument/2006/relationships/slideLayout" Target="../slideLayouts/slideLayout229.xml"/><Relationship Id="rId16" Type="http://schemas.openxmlformats.org/officeDocument/2006/relationships/slideLayout" Target="../slideLayouts/slideLayout45.xml"/><Relationship Id="rId221" Type="http://schemas.openxmlformats.org/officeDocument/2006/relationships/slideLayout" Target="../slideLayouts/slideLayout250.xml"/><Relationship Id="rId37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87.xml"/><Relationship Id="rId79" Type="http://schemas.openxmlformats.org/officeDocument/2006/relationships/slideLayout" Target="../slideLayouts/slideLayout108.xml"/><Relationship Id="rId102" Type="http://schemas.openxmlformats.org/officeDocument/2006/relationships/slideLayout" Target="../slideLayouts/slideLayout131.xml"/><Relationship Id="rId123" Type="http://schemas.openxmlformats.org/officeDocument/2006/relationships/slideLayout" Target="../slideLayouts/slideLayout152.xml"/><Relationship Id="rId144" Type="http://schemas.openxmlformats.org/officeDocument/2006/relationships/slideLayout" Target="../slideLayouts/slideLayout173.xml"/><Relationship Id="rId90" Type="http://schemas.openxmlformats.org/officeDocument/2006/relationships/slideLayout" Target="../slideLayouts/slideLayout119.xml"/><Relationship Id="rId165" Type="http://schemas.openxmlformats.org/officeDocument/2006/relationships/slideLayout" Target="../slideLayouts/slideLayout194.xml"/><Relationship Id="rId186" Type="http://schemas.openxmlformats.org/officeDocument/2006/relationships/slideLayout" Target="../slideLayouts/slideLayout215.xml"/><Relationship Id="rId211" Type="http://schemas.openxmlformats.org/officeDocument/2006/relationships/slideLayout" Target="../slideLayouts/slideLayout240.xml"/><Relationship Id="rId27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77.xml"/><Relationship Id="rId69" Type="http://schemas.openxmlformats.org/officeDocument/2006/relationships/slideLayout" Target="../slideLayouts/slideLayout98.xml"/><Relationship Id="rId113" Type="http://schemas.openxmlformats.org/officeDocument/2006/relationships/slideLayout" Target="../slideLayouts/slideLayout142.xml"/><Relationship Id="rId134" Type="http://schemas.openxmlformats.org/officeDocument/2006/relationships/slideLayout" Target="../slideLayouts/slideLayout163.xml"/><Relationship Id="rId80" Type="http://schemas.openxmlformats.org/officeDocument/2006/relationships/slideLayout" Target="../slideLayouts/slideLayout109.xml"/><Relationship Id="rId155" Type="http://schemas.openxmlformats.org/officeDocument/2006/relationships/slideLayout" Target="../slideLayouts/slideLayout184.xml"/><Relationship Id="rId176" Type="http://schemas.openxmlformats.org/officeDocument/2006/relationships/slideLayout" Target="../slideLayouts/slideLayout205.xml"/><Relationship Id="rId197" Type="http://schemas.openxmlformats.org/officeDocument/2006/relationships/slideLayout" Target="../slideLayouts/slideLayout226.xml"/><Relationship Id="rId201" Type="http://schemas.openxmlformats.org/officeDocument/2006/relationships/slideLayout" Target="../slideLayouts/slideLayout230.xml"/><Relationship Id="rId222" Type="http://schemas.openxmlformats.org/officeDocument/2006/relationships/theme" Target="../theme/theme4.xml"/><Relationship Id="rId17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67.xml"/><Relationship Id="rId59" Type="http://schemas.openxmlformats.org/officeDocument/2006/relationships/slideLayout" Target="../slideLayouts/slideLayout88.xml"/><Relationship Id="rId103" Type="http://schemas.openxmlformats.org/officeDocument/2006/relationships/slideLayout" Target="../slideLayouts/slideLayout132.xml"/><Relationship Id="rId124" Type="http://schemas.openxmlformats.org/officeDocument/2006/relationships/slideLayout" Target="../slideLayouts/slideLayout153.xml"/><Relationship Id="rId70" Type="http://schemas.openxmlformats.org/officeDocument/2006/relationships/slideLayout" Target="../slideLayouts/slideLayout99.xml"/><Relationship Id="rId91" Type="http://schemas.openxmlformats.org/officeDocument/2006/relationships/slideLayout" Target="../slideLayouts/slideLayout120.xml"/><Relationship Id="rId145" Type="http://schemas.openxmlformats.org/officeDocument/2006/relationships/slideLayout" Target="../slideLayouts/slideLayout174.xml"/><Relationship Id="rId166" Type="http://schemas.openxmlformats.org/officeDocument/2006/relationships/slideLayout" Target="../slideLayouts/slideLayout195.xml"/><Relationship Id="rId187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30.xml"/><Relationship Id="rId212" Type="http://schemas.openxmlformats.org/officeDocument/2006/relationships/slideLayout" Target="../slideLayouts/slideLayout241.xml"/><Relationship Id="rId28" Type="http://schemas.openxmlformats.org/officeDocument/2006/relationships/slideLayout" Target="../slideLayouts/slideLayout57.xml"/><Relationship Id="rId49" Type="http://schemas.openxmlformats.org/officeDocument/2006/relationships/slideLayout" Target="../slideLayouts/slideLayout78.xml"/><Relationship Id="rId114" Type="http://schemas.openxmlformats.org/officeDocument/2006/relationships/slideLayout" Target="../slideLayouts/slideLayout143.xml"/><Relationship Id="rId60" Type="http://schemas.openxmlformats.org/officeDocument/2006/relationships/slideLayout" Target="../slideLayouts/slideLayout89.xml"/><Relationship Id="rId81" Type="http://schemas.openxmlformats.org/officeDocument/2006/relationships/slideLayout" Target="../slideLayouts/slideLayout110.xml"/><Relationship Id="rId135" Type="http://schemas.openxmlformats.org/officeDocument/2006/relationships/slideLayout" Target="../slideLayouts/slideLayout164.xml"/><Relationship Id="rId156" Type="http://schemas.openxmlformats.org/officeDocument/2006/relationships/slideLayout" Target="../slideLayouts/slideLayout185.xml"/><Relationship Id="rId177" Type="http://schemas.openxmlformats.org/officeDocument/2006/relationships/slideLayout" Target="../slideLayouts/slideLayout206.xml"/><Relationship Id="rId198" Type="http://schemas.openxmlformats.org/officeDocument/2006/relationships/slideLayout" Target="../slideLayouts/slideLayout227.xml"/><Relationship Id="rId202" Type="http://schemas.openxmlformats.org/officeDocument/2006/relationships/slideLayout" Target="../slideLayouts/slideLayout231.xml"/><Relationship Id="rId223" Type="http://schemas.openxmlformats.org/officeDocument/2006/relationships/tags" Target="../tags/tag1.xml"/><Relationship Id="rId18" Type="http://schemas.openxmlformats.org/officeDocument/2006/relationships/slideLayout" Target="../slideLayouts/slideLayout47.xml"/><Relationship Id="rId39" Type="http://schemas.openxmlformats.org/officeDocument/2006/relationships/slideLayout" Target="../slideLayouts/slideLayout68.xml"/><Relationship Id="rId50" Type="http://schemas.openxmlformats.org/officeDocument/2006/relationships/slideLayout" Target="../slideLayouts/slideLayout79.xml"/><Relationship Id="rId104" Type="http://schemas.openxmlformats.org/officeDocument/2006/relationships/slideLayout" Target="../slideLayouts/slideLayout133.xml"/><Relationship Id="rId125" Type="http://schemas.openxmlformats.org/officeDocument/2006/relationships/slideLayout" Target="../slideLayouts/slideLayout154.xml"/><Relationship Id="rId146" Type="http://schemas.openxmlformats.org/officeDocument/2006/relationships/slideLayout" Target="../slideLayouts/slideLayout175.xml"/><Relationship Id="rId167" Type="http://schemas.openxmlformats.org/officeDocument/2006/relationships/slideLayout" Target="../slideLayouts/slideLayout196.xml"/><Relationship Id="rId188" Type="http://schemas.openxmlformats.org/officeDocument/2006/relationships/slideLayout" Target="../slideLayouts/slideLayout217.xml"/><Relationship Id="rId71" Type="http://schemas.openxmlformats.org/officeDocument/2006/relationships/slideLayout" Target="../slideLayouts/slideLayout100.xml"/><Relationship Id="rId92" Type="http://schemas.openxmlformats.org/officeDocument/2006/relationships/slideLayout" Target="../slideLayouts/slideLayout121.xml"/><Relationship Id="rId213" Type="http://schemas.openxmlformats.org/officeDocument/2006/relationships/slideLayout" Target="../slideLayouts/slideLayout242.xml"/><Relationship Id="rId2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58.xml"/><Relationship Id="rId40" Type="http://schemas.openxmlformats.org/officeDocument/2006/relationships/slideLayout" Target="../slideLayouts/slideLayout69.xml"/><Relationship Id="rId115" Type="http://schemas.openxmlformats.org/officeDocument/2006/relationships/slideLayout" Target="../slideLayouts/slideLayout144.xml"/><Relationship Id="rId136" Type="http://schemas.openxmlformats.org/officeDocument/2006/relationships/slideLayout" Target="../slideLayouts/slideLayout165.xml"/><Relationship Id="rId157" Type="http://schemas.openxmlformats.org/officeDocument/2006/relationships/slideLayout" Target="../slideLayouts/slideLayout186.xml"/><Relationship Id="rId178" Type="http://schemas.openxmlformats.org/officeDocument/2006/relationships/slideLayout" Target="../slideLayouts/slideLayout207.xml"/><Relationship Id="rId61" Type="http://schemas.openxmlformats.org/officeDocument/2006/relationships/slideLayout" Target="../slideLayouts/slideLayout90.xml"/><Relationship Id="rId82" Type="http://schemas.openxmlformats.org/officeDocument/2006/relationships/slideLayout" Target="../slideLayouts/slideLayout111.xml"/><Relationship Id="rId199" Type="http://schemas.openxmlformats.org/officeDocument/2006/relationships/slideLayout" Target="../slideLayouts/slideLayout228.xml"/><Relationship Id="rId203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48.xml"/><Relationship Id="rId224" Type="http://schemas.openxmlformats.org/officeDocument/2006/relationships/oleObject" Target="../embeddings/oleObject1.bin"/><Relationship Id="rId30" Type="http://schemas.openxmlformats.org/officeDocument/2006/relationships/slideLayout" Target="../slideLayouts/slideLayout59.xml"/><Relationship Id="rId105" Type="http://schemas.openxmlformats.org/officeDocument/2006/relationships/slideLayout" Target="../slideLayouts/slideLayout134.xml"/><Relationship Id="rId126" Type="http://schemas.openxmlformats.org/officeDocument/2006/relationships/slideLayout" Target="../slideLayouts/slideLayout155.xml"/><Relationship Id="rId147" Type="http://schemas.openxmlformats.org/officeDocument/2006/relationships/slideLayout" Target="../slideLayouts/slideLayout176.xml"/><Relationship Id="rId168" Type="http://schemas.openxmlformats.org/officeDocument/2006/relationships/slideLayout" Target="../slideLayouts/slideLayout197.xml"/><Relationship Id="rId51" Type="http://schemas.openxmlformats.org/officeDocument/2006/relationships/slideLayout" Target="../slideLayouts/slideLayout80.xml"/><Relationship Id="rId72" Type="http://schemas.openxmlformats.org/officeDocument/2006/relationships/slideLayout" Target="../slideLayouts/slideLayout101.xml"/><Relationship Id="rId93" Type="http://schemas.openxmlformats.org/officeDocument/2006/relationships/slideLayout" Target="../slideLayouts/slideLayout122.xml"/><Relationship Id="rId189" Type="http://schemas.openxmlformats.org/officeDocument/2006/relationships/slideLayout" Target="../slideLayouts/slideLayout21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63.xml"/><Relationship Id="rId1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2.xml"/><Relationship Id="rId1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20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55.xml"/><Relationship Id="rId15" Type="http://schemas.openxmlformats.org/officeDocument/2006/relationships/slideLayout" Target="../slideLayouts/slideLayout265.xml"/><Relationship Id="rId23" Type="http://schemas.openxmlformats.org/officeDocument/2006/relationships/image" Target="../media/image32.png"/><Relationship Id="rId10" Type="http://schemas.openxmlformats.org/officeDocument/2006/relationships/slideLayout" Target="../slideLayouts/slideLayout260.xml"/><Relationship Id="rId19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Relationship Id="rId22" Type="http://schemas.openxmlformats.org/officeDocument/2006/relationships/image" Target="../media/image3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73.xml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2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7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image" Target="../media/image38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0.xml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89.xml"/><Relationship Id="rId12" Type="http://schemas.openxmlformats.org/officeDocument/2006/relationships/image" Target="../media/image38.jpeg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287.xml"/><Relationship Id="rId10" Type="http://schemas.openxmlformats.org/officeDocument/2006/relationships/slideLayout" Target="../slideLayouts/slideLayout292.xml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95.xml"/><Relationship Id="rId7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94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97.xml"/><Relationship Id="rId15" Type="http://schemas.openxmlformats.org/officeDocument/2006/relationships/image" Target="../media/image31.jpeg"/><Relationship Id="rId10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4ABA7B-91AC-4596-8551-23173DBB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9F585A-03F6-42C2-8ADA-E140D61404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664703-7E0C-42AE-8FD5-62CCF5CC18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7ABC9F-2226-44B7-911A-F6D3DD3A178D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BAFC26-FED1-41C9-938A-7240092DE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EFB11-737F-4FD4-8116-3818342036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5878F3-CD42-4FA4-B835-F0690F02F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177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-33017" y="-31531"/>
            <a:ext cx="12239857" cy="1033272"/>
            <a:chOff x="-24763" y="-31531"/>
            <a:chExt cx="9179893" cy="1324303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24763" y="-31531"/>
              <a:ext cx="9179893" cy="132430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 bwMode="auto">
            <a:xfrm>
              <a:off x="-24763" y="1292772"/>
              <a:ext cx="9168763" cy="0"/>
            </a:xfrm>
            <a:prstGeom prst="line">
              <a:avLst/>
            </a:prstGeom>
            <a:ln w="111125">
              <a:solidFill>
                <a:srgbClr val="C1D8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7512" y="1"/>
            <a:ext cx="10515600" cy="9372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157395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B3C6F56-2C73-4392-A576-84C3E2AFDFAE}" type="datetime1">
              <a:rPr lang="en-US" smtClean="0"/>
              <a:t>6/5/2024</a:t>
            </a:fld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EF0DC2C-194B-4022-A64E-ED93559C00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832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E925C4-92C2-8D4A-FCFC-5953AD3DF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D8A533-7EC5-D409-8468-6B5F2492FB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612D5-872C-8824-0F3E-3BC1B9E6BD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608ED-04DC-4F49-9ABF-E9C11BBF6652}" type="datetime1">
              <a:rPr lang="en-US" smtClean="0"/>
              <a:t>6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B1DFD-85FC-9B16-2295-DF7782C0A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7D86D1-806F-521F-32B1-A208EA5869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FFA4C-0D1C-425F-BB04-E50ADD4A39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11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55D6B9-23E3-DED0-6ADA-310A870DA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4" imgW="245" imgH="245" progId="TCLayout.ActiveDocument.1">
                  <p:embed/>
                </p:oleObj>
              </mc:Choice>
              <mc:Fallback>
                <p:oleObj name="think-cell Slide" r:id="rId224" imgW="245" imgH="24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55D6B9-23E3-DED0-6ADA-310A870DA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621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3" r:id="rId40"/>
    <p:sldLayoutId id="2147483724" r:id="rId41"/>
    <p:sldLayoutId id="2147483725" r:id="rId42"/>
    <p:sldLayoutId id="2147483726" r:id="rId43"/>
    <p:sldLayoutId id="2147483727" r:id="rId44"/>
    <p:sldLayoutId id="2147483728" r:id="rId45"/>
    <p:sldLayoutId id="2147483729" r:id="rId46"/>
    <p:sldLayoutId id="2147483730" r:id="rId47"/>
    <p:sldLayoutId id="2147483731" r:id="rId48"/>
    <p:sldLayoutId id="2147483732" r:id="rId49"/>
    <p:sldLayoutId id="2147483733" r:id="rId50"/>
    <p:sldLayoutId id="2147483734" r:id="rId51"/>
    <p:sldLayoutId id="2147483735" r:id="rId52"/>
    <p:sldLayoutId id="2147483736" r:id="rId53"/>
    <p:sldLayoutId id="2147483737" r:id="rId54"/>
    <p:sldLayoutId id="2147483738" r:id="rId55"/>
    <p:sldLayoutId id="2147483739" r:id="rId56"/>
    <p:sldLayoutId id="2147483740" r:id="rId57"/>
    <p:sldLayoutId id="2147483741" r:id="rId58"/>
    <p:sldLayoutId id="2147483742" r:id="rId59"/>
    <p:sldLayoutId id="2147483770" r:id="rId60"/>
    <p:sldLayoutId id="2147483787" r:id="rId61"/>
    <p:sldLayoutId id="2147483788" r:id="rId62"/>
    <p:sldLayoutId id="2147483789" r:id="rId63"/>
    <p:sldLayoutId id="2147483790" r:id="rId64"/>
    <p:sldLayoutId id="2147483794" r:id="rId65"/>
    <p:sldLayoutId id="2147483795" r:id="rId66"/>
    <p:sldLayoutId id="2147483796" r:id="rId67"/>
    <p:sldLayoutId id="2147483799" r:id="rId68"/>
    <p:sldLayoutId id="2147483800" r:id="rId69"/>
    <p:sldLayoutId id="2147483801" r:id="rId70"/>
    <p:sldLayoutId id="2147483802" r:id="rId71"/>
    <p:sldLayoutId id="2147483803" r:id="rId72"/>
    <p:sldLayoutId id="2147483804" r:id="rId73"/>
    <p:sldLayoutId id="2147483805" r:id="rId74"/>
    <p:sldLayoutId id="2147483806" r:id="rId75"/>
    <p:sldLayoutId id="2147483807" r:id="rId76"/>
    <p:sldLayoutId id="2147483808" r:id="rId77"/>
    <p:sldLayoutId id="2147483809" r:id="rId78"/>
    <p:sldLayoutId id="2147483810" r:id="rId79"/>
    <p:sldLayoutId id="2147483811" r:id="rId80"/>
    <p:sldLayoutId id="2147483812" r:id="rId81"/>
    <p:sldLayoutId id="2147483813" r:id="rId82"/>
    <p:sldLayoutId id="2147483814" r:id="rId83"/>
    <p:sldLayoutId id="2147483815" r:id="rId84"/>
    <p:sldLayoutId id="2147483816" r:id="rId85"/>
    <p:sldLayoutId id="2147483817" r:id="rId86"/>
    <p:sldLayoutId id="2147483818" r:id="rId87"/>
    <p:sldLayoutId id="2147483819" r:id="rId88"/>
    <p:sldLayoutId id="2147483820" r:id="rId89"/>
    <p:sldLayoutId id="2147483821" r:id="rId90"/>
    <p:sldLayoutId id="2147483822" r:id="rId91"/>
    <p:sldLayoutId id="2147483823" r:id="rId92"/>
    <p:sldLayoutId id="2147483824" r:id="rId93"/>
    <p:sldLayoutId id="2147483825" r:id="rId94"/>
    <p:sldLayoutId id="2147483826" r:id="rId95"/>
    <p:sldLayoutId id="2147483827" r:id="rId96"/>
    <p:sldLayoutId id="2147483828" r:id="rId97"/>
    <p:sldLayoutId id="2147483829" r:id="rId98"/>
    <p:sldLayoutId id="2147483830" r:id="rId99"/>
    <p:sldLayoutId id="2147483831" r:id="rId100"/>
    <p:sldLayoutId id="2147483832" r:id="rId101"/>
    <p:sldLayoutId id="2147483833" r:id="rId102"/>
    <p:sldLayoutId id="2147483834" r:id="rId103"/>
    <p:sldLayoutId id="2147483835" r:id="rId104"/>
    <p:sldLayoutId id="2147483836" r:id="rId105"/>
    <p:sldLayoutId id="2147483837" r:id="rId106"/>
    <p:sldLayoutId id="2147483838" r:id="rId107"/>
    <p:sldLayoutId id="2147483839" r:id="rId108"/>
    <p:sldLayoutId id="2147483840" r:id="rId109"/>
    <p:sldLayoutId id="2147483841" r:id="rId110"/>
    <p:sldLayoutId id="2147483842" r:id="rId111"/>
    <p:sldLayoutId id="2147483843" r:id="rId112"/>
    <p:sldLayoutId id="2147483844" r:id="rId113"/>
    <p:sldLayoutId id="2147483845" r:id="rId114"/>
    <p:sldLayoutId id="2147483846" r:id="rId115"/>
    <p:sldLayoutId id="2147483847" r:id="rId116"/>
    <p:sldLayoutId id="2147483848" r:id="rId117"/>
    <p:sldLayoutId id="2147483849" r:id="rId118"/>
    <p:sldLayoutId id="2147483850" r:id="rId119"/>
    <p:sldLayoutId id="2147483851" r:id="rId120"/>
    <p:sldLayoutId id="2147483852" r:id="rId121"/>
    <p:sldLayoutId id="2147483853" r:id="rId122"/>
    <p:sldLayoutId id="2147483854" r:id="rId123"/>
    <p:sldLayoutId id="2147483855" r:id="rId124"/>
    <p:sldLayoutId id="2147483856" r:id="rId125"/>
    <p:sldLayoutId id="2147483857" r:id="rId126"/>
    <p:sldLayoutId id="2147483903" r:id="rId127"/>
    <p:sldLayoutId id="2147483904" r:id="rId128"/>
    <p:sldLayoutId id="2147483905" r:id="rId129"/>
    <p:sldLayoutId id="2147483906" r:id="rId130"/>
    <p:sldLayoutId id="2147483910" r:id="rId131"/>
    <p:sldLayoutId id="2147483911" r:id="rId132"/>
    <p:sldLayoutId id="2147483912" r:id="rId133"/>
    <p:sldLayoutId id="2147483915" r:id="rId134"/>
    <p:sldLayoutId id="2147483916" r:id="rId135"/>
    <p:sldLayoutId id="2147483917" r:id="rId136"/>
    <p:sldLayoutId id="2147483918" r:id="rId137"/>
    <p:sldLayoutId id="2147483919" r:id="rId138"/>
    <p:sldLayoutId id="2147483920" r:id="rId139"/>
    <p:sldLayoutId id="2147483921" r:id="rId140"/>
    <p:sldLayoutId id="2147483922" r:id="rId141"/>
    <p:sldLayoutId id="2147483923" r:id="rId142"/>
    <p:sldLayoutId id="2147483924" r:id="rId143"/>
    <p:sldLayoutId id="2147483925" r:id="rId144"/>
    <p:sldLayoutId id="2147483926" r:id="rId145"/>
    <p:sldLayoutId id="2147483927" r:id="rId146"/>
    <p:sldLayoutId id="2147483928" r:id="rId147"/>
    <p:sldLayoutId id="2147483929" r:id="rId148"/>
    <p:sldLayoutId id="2147483930" r:id="rId149"/>
    <p:sldLayoutId id="2147483931" r:id="rId150"/>
    <p:sldLayoutId id="2147483932" r:id="rId151"/>
    <p:sldLayoutId id="2147483933" r:id="rId152"/>
    <p:sldLayoutId id="2147483934" r:id="rId153"/>
    <p:sldLayoutId id="2147483935" r:id="rId154"/>
    <p:sldLayoutId id="2147483936" r:id="rId155"/>
    <p:sldLayoutId id="2147483937" r:id="rId156"/>
    <p:sldLayoutId id="2147483938" r:id="rId157"/>
    <p:sldLayoutId id="2147483939" r:id="rId158"/>
    <p:sldLayoutId id="2147483940" r:id="rId159"/>
    <p:sldLayoutId id="2147483941" r:id="rId160"/>
    <p:sldLayoutId id="2147483942" r:id="rId161"/>
    <p:sldLayoutId id="2147483943" r:id="rId162"/>
    <p:sldLayoutId id="2147483944" r:id="rId163"/>
    <p:sldLayoutId id="2147483945" r:id="rId164"/>
    <p:sldLayoutId id="2147483946" r:id="rId165"/>
    <p:sldLayoutId id="2147483971" r:id="rId166"/>
    <p:sldLayoutId id="2147483972" r:id="rId167"/>
    <p:sldLayoutId id="2147483973" r:id="rId168"/>
    <p:sldLayoutId id="2147483974" r:id="rId169"/>
    <p:sldLayoutId id="2147483975" r:id="rId170"/>
    <p:sldLayoutId id="2147483976" r:id="rId171"/>
    <p:sldLayoutId id="2147483977" r:id="rId172"/>
    <p:sldLayoutId id="2147483978" r:id="rId173"/>
    <p:sldLayoutId id="2147483979" r:id="rId174"/>
    <p:sldLayoutId id="2147483980" r:id="rId175"/>
    <p:sldLayoutId id="2147483981" r:id="rId176"/>
    <p:sldLayoutId id="2147483982" r:id="rId177"/>
    <p:sldLayoutId id="2147483983" r:id="rId178"/>
    <p:sldLayoutId id="2147483984" r:id="rId179"/>
    <p:sldLayoutId id="2147483985" r:id="rId180"/>
    <p:sldLayoutId id="2147483989" r:id="rId181"/>
    <p:sldLayoutId id="2147483990" r:id="rId182"/>
    <p:sldLayoutId id="2147483991" r:id="rId183"/>
    <p:sldLayoutId id="2147483994" r:id="rId184"/>
    <p:sldLayoutId id="2147483995" r:id="rId185"/>
    <p:sldLayoutId id="2147483996" r:id="rId186"/>
    <p:sldLayoutId id="2147483999" r:id="rId187"/>
    <p:sldLayoutId id="2147484000" r:id="rId188"/>
    <p:sldLayoutId id="2147484001" r:id="rId189"/>
    <p:sldLayoutId id="2147484002" r:id="rId190"/>
    <p:sldLayoutId id="2147484003" r:id="rId191"/>
    <p:sldLayoutId id="2147484004" r:id="rId192"/>
    <p:sldLayoutId id="2147484005" r:id="rId193"/>
    <p:sldLayoutId id="2147484006" r:id="rId194"/>
    <p:sldLayoutId id="2147484007" r:id="rId195"/>
    <p:sldLayoutId id="2147484008" r:id="rId196"/>
    <p:sldLayoutId id="2147484009" r:id="rId197"/>
    <p:sldLayoutId id="2147484010" r:id="rId198"/>
    <p:sldLayoutId id="2147484011" r:id="rId199"/>
    <p:sldLayoutId id="2147484012" r:id="rId200"/>
    <p:sldLayoutId id="2147484013" r:id="rId201"/>
    <p:sldLayoutId id="2147484014" r:id="rId202"/>
    <p:sldLayoutId id="2147484015" r:id="rId203"/>
    <p:sldLayoutId id="2147484016" r:id="rId204"/>
    <p:sldLayoutId id="2147484017" r:id="rId205"/>
    <p:sldLayoutId id="2147484018" r:id="rId206"/>
    <p:sldLayoutId id="2147484019" r:id="rId207"/>
    <p:sldLayoutId id="2147484020" r:id="rId208"/>
    <p:sldLayoutId id="2147484021" r:id="rId209"/>
    <p:sldLayoutId id="2147484022" r:id="rId210"/>
    <p:sldLayoutId id="2147484023" r:id="rId211"/>
    <p:sldLayoutId id="2147484024" r:id="rId212"/>
    <p:sldLayoutId id="2147484025" r:id="rId213"/>
    <p:sldLayoutId id="2147484026" r:id="rId214"/>
    <p:sldLayoutId id="2147484027" r:id="rId215"/>
    <p:sldLayoutId id="2147484028" r:id="rId216"/>
    <p:sldLayoutId id="2147484029" r:id="rId217"/>
    <p:sldLayoutId id="2147484030" r:id="rId218"/>
    <p:sldLayoutId id="2147484043" r:id="rId219"/>
    <p:sldLayoutId id="2147484044" r:id="rId220"/>
    <p:sldLayoutId id="2147484119" r:id="rId221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624419" y="117475"/>
            <a:ext cx="796713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Page title,</a:t>
            </a:r>
            <a:br>
              <a:rPr lang="en-US" dirty="0"/>
            </a:br>
            <a:r>
              <a:rPr lang="en-US" dirty="0"/>
              <a:t>(Arial bold 20pt)</a:t>
            </a:r>
            <a:endParaRPr lang="ru-RU" dirty="0"/>
          </a:p>
        </p:txBody>
      </p:sp>
      <p:sp>
        <p:nvSpPr>
          <p:cNvPr id="2254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422" y="6453189"/>
            <a:ext cx="5270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solidFill>
                  <a:srgbClr val="969696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B2A8710-F0B4-4541-A715-F661DCDE46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9" name="Picture 27" descr="ICOM-logo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79497" y="333302"/>
            <a:ext cx="2087020" cy="472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9080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2" r:id="rId11"/>
    <p:sldLayoutId id="2147484133" r:id="rId12"/>
    <p:sldLayoutId id="2147484134" r:id="rId13"/>
    <p:sldLayoutId id="2147484135" r:id="rId14"/>
    <p:sldLayoutId id="2147484136" r:id="rId15"/>
    <p:sldLayoutId id="2147484137" r:id="rId16"/>
    <p:sldLayoutId id="2147484138" r:id="rId17"/>
    <p:sldLayoutId id="2147484139" r:id="rId18"/>
    <p:sldLayoutId id="2147484140" r:id="rId19"/>
    <p:sldLayoutId id="2147484141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98" b="1">
          <a:solidFill>
            <a:srgbClr val="3C3C3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5pPr>
      <a:lvl6pPr marL="609356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6pPr>
      <a:lvl7pPr marL="1218712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7pPr>
      <a:lvl8pPr marL="1828068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8pPr>
      <a:lvl9pPr marL="2437425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9pPr>
    </p:titleStyle>
    <p:bodyStyle>
      <a:lvl1pPr marL="457017" indent="-457017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SzPct val="80000"/>
        <a:buFont typeface="Webdings" pitchFamily="18" charset="2"/>
        <a:buBlip>
          <a:blip r:embed="rId23"/>
        </a:buBlip>
        <a:defRPr sz="1600">
          <a:solidFill>
            <a:srgbClr val="3C3C3C"/>
          </a:solidFill>
          <a:latin typeface="+mn-lt"/>
          <a:ea typeface="+mn-ea"/>
          <a:cs typeface="+mn-cs"/>
        </a:defRPr>
      </a:lvl1pPr>
      <a:lvl2pPr marL="990204" indent="-380848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ebdings" pitchFamily="18" charset="2"/>
        <a:buChar char="4"/>
        <a:defRPr sz="1600">
          <a:solidFill>
            <a:srgbClr val="3C3C3C"/>
          </a:solidFill>
          <a:latin typeface="+mn-lt"/>
        </a:defRPr>
      </a:lvl2pPr>
      <a:lvl3pPr marL="1523391" indent="-304679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ingdings" pitchFamily="2" charset="2"/>
        <a:buChar char="§"/>
        <a:defRPr sz="1500">
          <a:solidFill>
            <a:srgbClr val="3C3C3C"/>
          </a:solidFill>
          <a:latin typeface="+mn-lt"/>
        </a:defRPr>
      </a:lvl3pPr>
      <a:lvl4pPr marL="2132747" indent="-304679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Char char="•"/>
        <a:defRPr sz="1400">
          <a:solidFill>
            <a:srgbClr val="3C3C3C"/>
          </a:solidFill>
          <a:latin typeface="+mn-lt"/>
        </a:defRPr>
      </a:lvl4pPr>
      <a:lvl5pPr marL="2742103" indent="-304679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Arial" pitchFamily="34" charset="0"/>
        <a:buChar char="–"/>
        <a:defRPr sz="1400">
          <a:solidFill>
            <a:srgbClr val="3C3C3C"/>
          </a:solidFill>
          <a:latin typeface="+mn-lt"/>
        </a:defRPr>
      </a:lvl5pPr>
      <a:lvl6pPr marL="3351459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6pPr>
      <a:lvl7pPr marL="3960814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7pPr>
      <a:lvl8pPr marL="4570171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8pPr>
      <a:lvl9pPr marL="5179527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9pPr>
    </p:bodyStyle>
    <p:otherStyle>
      <a:defPPr>
        <a:defRPr lang="el-GR"/>
      </a:defPPr>
      <a:lvl1pPr marL="0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356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712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068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425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6781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138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5493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4849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624419" y="117475"/>
            <a:ext cx="796713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Page title,</a:t>
            </a:r>
            <a:br>
              <a:rPr lang="en-US" dirty="0"/>
            </a:br>
            <a:r>
              <a:rPr lang="en-US" dirty="0"/>
              <a:t>(Arial bold 20pt)</a:t>
            </a:r>
            <a:endParaRPr lang="ru-RU" dirty="0"/>
          </a:p>
        </p:txBody>
      </p:sp>
      <p:sp>
        <p:nvSpPr>
          <p:cNvPr id="2254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422" y="6453189"/>
            <a:ext cx="5270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solidFill>
                  <a:srgbClr val="969696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B2A8710-F0B4-4541-A715-F661DCDE46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9" name="Picture 27" descr="ICOM-logo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479497" y="333302"/>
            <a:ext cx="2087020" cy="472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2"/>
          <p:cNvSpPr txBox="1">
            <a:spLocks/>
          </p:cNvSpPr>
          <p:nvPr userDrawn="1"/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marL="457017" indent="-457017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600" kern="0" dirty="0"/>
              <a:t>Click to edit Master text styles</a:t>
            </a:r>
          </a:p>
          <a:p>
            <a:pPr marL="990204" lvl="1" indent="-380848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600" kern="0" dirty="0"/>
              <a:t>Second level</a:t>
            </a:r>
          </a:p>
          <a:p>
            <a:pPr marL="1523391" lvl="2" indent="-304679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US" sz="1500" kern="0" dirty="0"/>
              <a:t>Third level</a:t>
            </a:r>
          </a:p>
          <a:p>
            <a:pPr marL="2132747" lvl="3" indent="-304679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 kern="0" dirty="0"/>
              <a:t>Fourth level</a:t>
            </a:r>
          </a:p>
          <a:p>
            <a:pPr marL="2742103" lvl="4" indent="-304679" eaLnBrk="0" fontAlgn="base" hangingPunct="0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–"/>
              <a:defRPr/>
            </a:pPr>
            <a:r>
              <a:rPr lang="en-US" sz="1400" kern="0" dirty="0"/>
              <a:t>Fifth level</a:t>
            </a:r>
            <a:endParaRPr lang="el-GR" sz="1400" kern="0" dirty="0"/>
          </a:p>
        </p:txBody>
      </p:sp>
    </p:spTree>
    <p:extLst>
      <p:ext uri="{BB962C8B-B14F-4D97-AF65-F5344CB8AC3E}">
        <p14:creationId xmlns:p14="http://schemas.microsoft.com/office/powerpoint/2010/main" val="2255710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45" r:id="rId3"/>
    <p:sldLayoutId id="2147484146" r:id="rId4"/>
    <p:sldLayoutId id="2147484147" r:id="rId5"/>
    <p:sldLayoutId id="2147484148" r:id="rId6"/>
    <p:sldLayoutId id="2147484149" r:id="rId7"/>
    <p:sldLayoutId id="2147484150" r:id="rId8"/>
    <p:sldLayoutId id="2147484151" r:id="rId9"/>
    <p:sldLayoutId id="2147484152" r:id="rId10"/>
    <p:sldLayoutId id="2147484153" r:id="rId11"/>
    <p:sldLayoutId id="2147484154" r:id="rId12"/>
  </p:sldLayoutIdLst>
  <p:transition>
    <p:diamond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98" b="1">
          <a:solidFill>
            <a:srgbClr val="3C3C3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98" b="1">
          <a:solidFill>
            <a:srgbClr val="3C3C3C"/>
          </a:solidFill>
          <a:latin typeface="Arial" charset="0"/>
        </a:defRPr>
      </a:lvl5pPr>
      <a:lvl6pPr marL="609356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6pPr>
      <a:lvl7pPr marL="1218712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7pPr>
      <a:lvl8pPr marL="1828068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8pPr>
      <a:lvl9pPr marL="2437425" algn="l" rtl="0" fontAlgn="base">
        <a:spcBef>
          <a:spcPct val="0"/>
        </a:spcBef>
        <a:spcAft>
          <a:spcPct val="0"/>
        </a:spcAft>
        <a:defRPr sz="2698" b="1">
          <a:solidFill>
            <a:srgbClr val="696A6C"/>
          </a:solidFill>
          <a:latin typeface="Arial" charset="0"/>
        </a:defRPr>
      </a:lvl9pPr>
    </p:titleStyle>
    <p:bodyStyle>
      <a:lvl1pPr marL="457017" indent="-457017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SzPct val="80000"/>
        <a:buFont typeface="Webdings" pitchFamily="18" charset="2"/>
        <a:buBlip>
          <a:blip r:embed="rId15"/>
        </a:buBlip>
        <a:defRPr sz="1600">
          <a:solidFill>
            <a:srgbClr val="3C3C3C"/>
          </a:solidFill>
          <a:latin typeface="+mn-lt"/>
          <a:ea typeface="+mn-ea"/>
          <a:cs typeface="+mn-cs"/>
        </a:defRPr>
      </a:lvl1pPr>
      <a:lvl2pPr marL="990204" indent="-380848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ebdings" pitchFamily="18" charset="2"/>
        <a:buChar char="4"/>
        <a:defRPr sz="1600">
          <a:solidFill>
            <a:srgbClr val="3C3C3C"/>
          </a:solidFill>
          <a:latin typeface="+mn-lt"/>
        </a:defRPr>
      </a:lvl2pPr>
      <a:lvl3pPr marL="1523391" indent="-304679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ingdings" pitchFamily="2" charset="2"/>
        <a:buChar char="§"/>
        <a:defRPr sz="1500">
          <a:solidFill>
            <a:srgbClr val="3C3C3C"/>
          </a:solidFill>
          <a:latin typeface="+mn-lt"/>
        </a:defRPr>
      </a:lvl3pPr>
      <a:lvl4pPr marL="2132747" indent="-304679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Char char="•"/>
        <a:defRPr sz="1400">
          <a:solidFill>
            <a:srgbClr val="3C3C3C"/>
          </a:solidFill>
          <a:latin typeface="+mn-lt"/>
        </a:defRPr>
      </a:lvl4pPr>
      <a:lvl5pPr marL="2742103" indent="-304679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Arial" pitchFamily="34" charset="0"/>
        <a:buChar char="–"/>
        <a:defRPr sz="1400">
          <a:solidFill>
            <a:srgbClr val="3C3C3C"/>
          </a:solidFill>
          <a:latin typeface="+mn-lt"/>
        </a:defRPr>
      </a:lvl5pPr>
      <a:lvl6pPr marL="3351459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6pPr>
      <a:lvl7pPr marL="3960814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7pPr>
      <a:lvl8pPr marL="4570171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8pPr>
      <a:lvl9pPr marL="5179527" indent="-304679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9pPr>
    </p:bodyStyle>
    <p:otherStyle>
      <a:defPPr>
        <a:defRPr lang="el-GR"/>
      </a:defPPr>
      <a:lvl1pPr marL="0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356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712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068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425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6781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138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5493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4849" algn="l" defTabSz="121871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117475"/>
            <a:ext cx="796713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Page title,</a:t>
            </a:r>
            <a:br>
              <a:rPr lang="en-US" dirty="0"/>
            </a:br>
            <a:r>
              <a:rPr lang="en-US" dirty="0"/>
              <a:t>(Arial bold 20pt)</a:t>
            </a:r>
            <a:endParaRPr lang="ru-RU" dirty="0"/>
          </a:p>
        </p:txBody>
      </p:sp>
      <p:sp>
        <p:nvSpPr>
          <p:cNvPr id="2254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421" y="6453189"/>
            <a:ext cx="5270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solidFill>
                  <a:srgbClr val="969696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B2A8710-F0B4-4541-A715-F661DCDE46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9" name="Picture 27" descr="ICOM-logo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479496" y="333300"/>
            <a:ext cx="2087020" cy="472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2"/>
          <p:cNvSpPr txBox="1">
            <a:spLocks/>
          </p:cNvSpPr>
          <p:nvPr userDrawn="1"/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marL="457154" marR="0" lvl="0" indent="-457154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990501" marR="0" lvl="1" indent="-380962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BPreplay" pitchFamily="50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1523848" marR="0" lvl="2" indent="-304770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2133387" marR="0" lvl="3" indent="-304770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PF Square Sans Pro" pitchFamily="2" charset="0"/>
              <a:buChar char="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Fourth level</a:t>
            </a:r>
          </a:p>
          <a:p>
            <a:pPr marL="2742926" marR="0" lvl="4" indent="-304770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Fifth level</a:t>
            </a:r>
            <a:endParaRPr kumimoji="0" lang="el-GR" sz="14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6606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99" b="1">
          <a:solidFill>
            <a:srgbClr val="3C3C3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5pPr>
      <a:lvl6pPr marL="609539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6pPr>
      <a:lvl7pPr marL="1219078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7pPr>
      <a:lvl8pPr marL="1828617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8pPr>
      <a:lvl9pPr marL="2438156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9pPr>
    </p:titleStyle>
    <p:bodyStyle>
      <a:lvl1pPr marL="457154" indent="-457154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SzPct val="80000"/>
        <a:buFont typeface="Webdings" pitchFamily="18" charset="2"/>
        <a:buBlip>
          <a:blip r:embed="rId13"/>
        </a:buBlip>
        <a:defRPr sz="1600">
          <a:solidFill>
            <a:srgbClr val="3C3C3C"/>
          </a:solidFill>
          <a:latin typeface="+mn-lt"/>
          <a:ea typeface="+mn-ea"/>
          <a:cs typeface="+mn-cs"/>
        </a:defRPr>
      </a:lvl1pPr>
      <a:lvl2pPr marL="990501" indent="-380962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ebdings" pitchFamily="18" charset="2"/>
        <a:buChar char="4"/>
        <a:defRPr sz="1600">
          <a:solidFill>
            <a:srgbClr val="3C3C3C"/>
          </a:solidFill>
          <a:latin typeface="+mn-lt"/>
        </a:defRPr>
      </a:lvl2pPr>
      <a:lvl3pPr marL="1523848" indent="-304770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ingdings" pitchFamily="2" charset="2"/>
        <a:buChar char="§"/>
        <a:defRPr sz="1500">
          <a:solidFill>
            <a:srgbClr val="3C3C3C"/>
          </a:solidFill>
          <a:latin typeface="+mn-lt"/>
        </a:defRPr>
      </a:lvl3pPr>
      <a:lvl4pPr marL="2133387" indent="-304770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Char char="•"/>
        <a:defRPr sz="1400">
          <a:solidFill>
            <a:srgbClr val="3C3C3C"/>
          </a:solidFill>
          <a:latin typeface="+mn-lt"/>
        </a:defRPr>
      </a:lvl4pPr>
      <a:lvl5pPr marL="2742926" indent="-304770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Arial" pitchFamily="34" charset="0"/>
        <a:buChar char="–"/>
        <a:defRPr sz="1400">
          <a:solidFill>
            <a:srgbClr val="3C3C3C"/>
          </a:solidFill>
          <a:latin typeface="+mn-lt"/>
        </a:defRPr>
      </a:lvl5pPr>
      <a:lvl6pPr marL="3352465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6pPr>
      <a:lvl7pPr marL="3962003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7pPr>
      <a:lvl8pPr marL="4571542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8pPr>
      <a:lvl9pPr marL="5181081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9pPr>
    </p:bodyStyle>
    <p:otherStyle>
      <a:defPPr>
        <a:defRPr lang="el-GR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117475"/>
            <a:ext cx="796713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Page title,</a:t>
            </a:r>
            <a:br>
              <a:rPr lang="en-US" dirty="0"/>
            </a:br>
            <a:r>
              <a:rPr lang="en-US" dirty="0"/>
              <a:t>(Arial bold 20pt)</a:t>
            </a:r>
            <a:endParaRPr lang="ru-RU" dirty="0"/>
          </a:p>
        </p:txBody>
      </p:sp>
      <p:sp>
        <p:nvSpPr>
          <p:cNvPr id="2254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421" y="6453189"/>
            <a:ext cx="5270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solidFill>
                  <a:srgbClr val="969696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B2A8710-F0B4-4541-A715-F661DCDE46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9" name="Picture 27" descr="ICOM-logo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79496" y="333300"/>
            <a:ext cx="2087020" cy="472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2"/>
          <p:cNvSpPr txBox="1">
            <a:spLocks/>
          </p:cNvSpPr>
          <p:nvPr userDrawn="1"/>
        </p:nvSpPr>
        <p:spPr>
          <a:xfrm>
            <a:off x="623392" y="1341440"/>
            <a:ext cx="10944192" cy="4608512"/>
          </a:xfrm>
          <a:prstGeom prst="rect">
            <a:avLst/>
          </a:prstGeom>
        </p:spPr>
        <p:txBody>
          <a:bodyPr/>
          <a:lstStyle>
            <a:lvl1pPr>
              <a:buClr>
                <a:srgbClr val="C50000"/>
              </a:buClr>
              <a:buSzPct val="100000"/>
              <a:buFont typeface="PF Square Sans Pro" pitchFamily="2" charset="0"/>
              <a:buChar char="▶"/>
              <a:defRPr sz="1600">
                <a:solidFill>
                  <a:srgbClr val="3C3C3C"/>
                </a:solidFill>
              </a:defRPr>
            </a:lvl1pPr>
            <a:lvl2pPr>
              <a:buClr>
                <a:srgbClr val="C50000"/>
              </a:buClr>
              <a:buFont typeface="BPreplay" pitchFamily="50" charset="0"/>
              <a:buChar char="•"/>
              <a:defRPr sz="1600">
                <a:solidFill>
                  <a:srgbClr val="3C3C3C"/>
                </a:solidFill>
              </a:defRPr>
            </a:lvl2pPr>
            <a:lvl3pPr>
              <a:buClr>
                <a:srgbClr val="C50000"/>
              </a:buClr>
              <a:defRPr sz="1500">
                <a:solidFill>
                  <a:srgbClr val="3C3C3C"/>
                </a:solidFill>
              </a:defRPr>
            </a:lvl3pPr>
            <a:lvl4pPr>
              <a:buClr>
                <a:srgbClr val="C50000"/>
              </a:buClr>
              <a:buFont typeface="PF Square Sans Pro" pitchFamily="2" charset="0"/>
              <a:buChar char=""/>
              <a:defRPr sz="1400">
                <a:solidFill>
                  <a:srgbClr val="3C3C3C"/>
                </a:solidFill>
              </a:defRPr>
            </a:lvl4pPr>
            <a:lvl5pPr>
              <a:buClr>
                <a:srgbClr val="C50000"/>
              </a:buClr>
              <a:defRPr sz="1400">
                <a:solidFill>
                  <a:srgbClr val="3C3C3C"/>
                </a:solidFill>
              </a:defRPr>
            </a:lvl5pPr>
          </a:lstStyle>
          <a:p>
            <a:pPr marL="457154" marR="0" lvl="0" indent="-457154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990501" marR="0" lvl="1" indent="-380962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BPreplay" pitchFamily="50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1523848" marR="0" lvl="2" indent="-304770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2133387" marR="0" lvl="3" indent="-304770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PF Square Sans Pro" pitchFamily="2" charset="0"/>
              <a:buChar char="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Fourth level</a:t>
            </a:r>
          </a:p>
          <a:p>
            <a:pPr marL="2742926" marR="0" lvl="4" indent="-304770" algn="l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C50000"/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Fifth level</a:t>
            </a:r>
            <a:endParaRPr kumimoji="0" lang="el-GR" sz="14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633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  <p:sldLayoutId id="2147484178" r:id="rId12"/>
    <p:sldLayoutId id="2147484179" r:id="rId13"/>
  </p:sldLayoutIdLst>
  <p:transition>
    <p:diamond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99" b="1">
          <a:solidFill>
            <a:srgbClr val="3C3C3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99" b="1">
          <a:solidFill>
            <a:srgbClr val="3C3C3C"/>
          </a:solidFill>
          <a:latin typeface="Arial" charset="0"/>
        </a:defRPr>
      </a:lvl5pPr>
      <a:lvl6pPr marL="609539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6pPr>
      <a:lvl7pPr marL="1219078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7pPr>
      <a:lvl8pPr marL="1828617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8pPr>
      <a:lvl9pPr marL="2438156" algn="l" rtl="0" fontAlgn="base">
        <a:spcBef>
          <a:spcPct val="0"/>
        </a:spcBef>
        <a:spcAft>
          <a:spcPct val="0"/>
        </a:spcAft>
        <a:defRPr sz="2699" b="1">
          <a:solidFill>
            <a:srgbClr val="696A6C"/>
          </a:solidFill>
          <a:latin typeface="Arial" charset="0"/>
        </a:defRPr>
      </a:lvl9pPr>
    </p:titleStyle>
    <p:bodyStyle>
      <a:lvl1pPr marL="457154" indent="-457154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SzPct val="80000"/>
        <a:buFont typeface="Webdings" pitchFamily="18" charset="2"/>
        <a:buBlip>
          <a:blip r:embed="rId16"/>
        </a:buBlip>
        <a:defRPr sz="1600">
          <a:solidFill>
            <a:srgbClr val="3C3C3C"/>
          </a:solidFill>
          <a:latin typeface="+mn-lt"/>
          <a:ea typeface="+mn-ea"/>
          <a:cs typeface="+mn-cs"/>
        </a:defRPr>
      </a:lvl1pPr>
      <a:lvl2pPr marL="990501" indent="-380962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ebdings" pitchFamily="18" charset="2"/>
        <a:buChar char="4"/>
        <a:defRPr sz="1600">
          <a:solidFill>
            <a:srgbClr val="3C3C3C"/>
          </a:solidFill>
          <a:latin typeface="+mn-lt"/>
        </a:defRPr>
      </a:lvl2pPr>
      <a:lvl3pPr marL="1523848" indent="-304770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Wingdings" pitchFamily="2" charset="2"/>
        <a:buChar char="§"/>
        <a:defRPr sz="1500">
          <a:solidFill>
            <a:srgbClr val="3C3C3C"/>
          </a:solidFill>
          <a:latin typeface="+mn-lt"/>
        </a:defRPr>
      </a:lvl3pPr>
      <a:lvl4pPr marL="2133387" indent="-304770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Char char="•"/>
        <a:defRPr sz="1400">
          <a:solidFill>
            <a:srgbClr val="3C3C3C"/>
          </a:solidFill>
          <a:latin typeface="+mn-lt"/>
        </a:defRPr>
      </a:lvl4pPr>
      <a:lvl5pPr marL="2742926" indent="-304770" algn="l" rtl="0" eaLnBrk="0" fontAlgn="base" hangingPunct="0">
        <a:spcBef>
          <a:spcPct val="50000"/>
        </a:spcBef>
        <a:spcAft>
          <a:spcPct val="0"/>
        </a:spcAft>
        <a:buClr>
          <a:srgbClr val="E31B23"/>
        </a:buClr>
        <a:buFont typeface="Arial" pitchFamily="34" charset="0"/>
        <a:buChar char="–"/>
        <a:defRPr sz="1400">
          <a:solidFill>
            <a:srgbClr val="3C3C3C"/>
          </a:solidFill>
          <a:latin typeface="+mn-lt"/>
        </a:defRPr>
      </a:lvl5pPr>
      <a:lvl6pPr marL="3352465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6pPr>
      <a:lvl7pPr marL="3962003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7pPr>
      <a:lvl8pPr marL="4571542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8pPr>
      <a:lvl9pPr marL="5181081" indent="-304770" algn="l" rtl="0" fontAlgn="base">
        <a:spcBef>
          <a:spcPct val="50000"/>
        </a:spcBef>
        <a:spcAft>
          <a:spcPct val="0"/>
        </a:spcAft>
        <a:buClr>
          <a:srgbClr val="E31B23"/>
        </a:buClr>
        <a:buChar char="•"/>
        <a:defRPr sz="1600">
          <a:solidFill>
            <a:srgbClr val="696A6C"/>
          </a:solidFill>
          <a:latin typeface="+mn-lt"/>
        </a:defRPr>
      </a:lvl9pPr>
    </p:bodyStyle>
    <p:otherStyle>
      <a:defPPr>
        <a:defRPr lang="el-GR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3" Type="http://schemas.openxmlformats.org/officeDocument/2006/relationships/image" Target="../media/image77.jpeg"/><Relationship Id="rId7" Type="http://schemas.openxmlformats.org/officeDocument/2006/relationships/image" Target="../media/image8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3.xml"/><Relationship Id="rId6" Type="http://schemas.openxmlformats.org/officeDocument/2006/relationships/image" Target="../media/image80.jpeg"/><Relationship Id="rId11" Type="http://schemas.openxmlformats.org/officeDocument/2006/relationships/image" Target="../media/image85.png"/><Relationship Id="rId5" Type="http://schemas.openxmlformats.org/officeDocument/2006/relationships/image" Target="../media/image79.jpeg"/><Relationship Id="rId10" Type="http://schemas.openxmlformats.org/officeDocument/2006/relationships/image" Target="../media/image84.png"/><Relationship Id="rId4" Type="http://schemas.openxmlformats.org/officeDocument/2006/relationships/image" Target="../media/image78.jpeg"/><Relationship Id="rId9" Type="http://schemas.openxmlformats.org/officeDocument/2006/relationships/image" Target="../media/image8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53.xml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6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8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5.xml"/><Relationship Id="rId4" Type="http://schemas.openxmlformats.org/officeDocument/2006/relationships/image" Target="../media/image9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85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svg"/><Relationship Id="rId3" Type="http://schemas.openxmlformats.org/officeDocument/2006/relationships/image" Target="../media/image109.jpe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2.svg"/><Relationship Id="rId5" Type="http://schemas.openxmlformats.org/officeDocument/2006/relationships/image" Target="../media/image111.png"/><Relationship Id="rId10" Type="http://schemas.openxmlformats.org/officeDocument/2006/relationships/image" Target="../media/image116.svg"/><Relationship Id="rId4" Type="http://schemas.openxmlformats.org/officeDocument/2006/relationships/image" Target="../media/image110.png"/><Relationship Id="rId9" Type="http://schemas.openxmlformats.org/officeDocument/2006/relationships/image" Target="../media/image11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1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gharlaftis@conklin-intracom.com" TargetMode="External"/><Relationship Id="rId2" Type="http://schemas.openxmlformats.org/officeDocument/2006/relationships/hyperlink" Target="mailto:bead@winncom.com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1.jpeg"/><Relationship Id="rId5" Type="http://schemas.openxmlformats.org/officeDocument/2006/relationships/image" Target="../media/image119.png"/><Relationship Id="rId4" Type="http://schemas.openxmlformats.org/officeDocument/2006/relationships/hyperlink" Target="http://www.winncomus.com/bead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4.xml"/><Relationship Id="rId4" Type="http://schemas.openxmlformats.org/officeDocument/2006/relationships/image" Target="../media/image5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3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5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3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D073016-B734-483B-8953-5BADEE145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38600" y="0"/>
            <a:ext cx="8157458" cy="6858000"/>
          </a:xfrm>
          <a:prstGeom prst="rect">
            <a:avLst/>
          </a:prstGeom>
          <a:gradFill>
            <a:gsLst>
              <a:gs pos="2000">
                <a:schemeClr val="accent1"/>
              </a:gs>
              <a:gs pos="78000">
                <a:schemeClr val="accent1">
                  <a:lumMod val="50000"/>
                </a:schemeClr>
              </a:gs>
              <a:gs pos="100000">
                <a:srgbClr val="000000">
                  <a:alpha val="85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0A7EAB6-59D3-4325-8DE6-E0CA4009C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034537" y="1839884"/>
            <a:ext cx="8157460" cy="5017687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  <a:alpha val="30000"/>
                </a:schemeClr>
              </a:gs>
              <a:gs pos="100000">
                <a:srgbClr val="000000">
                  <a:alpha val="44000"/>
                </a:srgb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063179" y="-33131"/>
            <a:ext cx="6857999" cy="6923403"/>
          </a:xfrm>
          <a:prstGeom prst="rect">
            <a:avLst/>
          </a:prstGeom>
          <a:gradFill>
            <a:gsLst>
              <a:gs pos="56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96AA1A6-BB34-0760-82A9-34AB75FDAD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425" b="-1"/>
          <a:stretch/>
        </p:blipFill>
        <p:spPr>
          <a:xfrm>
            <a:off x="811823" y="457200"/>
            <a:ext cx="10568354" cy="59436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14E24B-8C9F-C7E7-042A-5CB71EE70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535878F3-CD42-4FA4-B835-F0690F02FFD1}" type="slidenum">
              <a:rPr lang="en-US" sz="110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</a:t>
            </a:fld>
            <a:endParaRPr lang="en-US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355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4">
                <a:lumMod val="0"/>
                <a:lumOff val="100000"/>
              </a:schemeClr>
            </a:gs>
            <a:gs pos="35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939" y="119201"/>
            <a:ext cx="8959487" cy="8631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19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BAS™ purpose-built FWA, delivering excellence in EOLO</a:t>
            </a:r>
            <a:endParaRPr lang="el-GR" sz="19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201264" y="6474747"/>
            <a:ext cx="526913" cy="215844"/>
          </a:xfrm>
        </p:spPr>
        <p:txBody>
          <a:bodyPr/>
          <a:lstStyle/>
          <a:p>
            <a:pPr defTabSz="914126" fontAlgn="base">
              <a:spcAft>
                <a:spcPct val="0"/>
              </a:spcAft>
              <a:defRPr/>
            </a:pPr>
            <a:fld id="{D545AE75-7117-4D34-B285-AD21001699FA}" type="slidenum">
              <a:rPr lang="ru-RU"/>
              <a:pPr defTabSz="914126" fontAlgn="base">
                <a:spcAft>
                  <a:spcPct val="0"/>
                </a:spcAft>
                <a:defRPr/>
              </a:pPr>
              <a:t>10</a:t>
            </a:fld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709" y="2338826"/>
            <a:ext cx="2293894" cy="216455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8647" y="987491"/>
            <a:ext cx="5324690" cy="334544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7512" y="987493"/>
            <a:ext cx="2509728" cy="3346304"/>
          </a:xfrm>
          <a:prstGeom prst="rect">
            <a:avLst/>
          </a:prstGeom>
          <a:effectLst/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987492"/>
            <a:ext cx="4006596" cy="188332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5663" y="987492"/>
            <a:ext cx="2787681" cy="333025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5912" y="2870812"/>
            <a:ext cx="1926646" cy="1828448"/>
          </a:xfrm>
          <a:prstGeom prst="rect">
            <a:avLst/>
          </a:prstGeom>
          <a:ln>
            <a:noFill/>
          </a:ln>
          <a:effectLst/>
        </p:spPr>
      </p:pic>
      <p:sp>
        <p:nvSpPr>
          <p:cNvPr id="12" name="Content Placeholder 8"/>
          <p:cNvSpPr txBox="1">
            <a:spLocks/>
          </p:cNvSpPr>
          <p:nvPr/>
        </p:nvSpPr>
        <p:spPr bwMode="auto">
          <a:xfrm>
            <a:off x="5485237" y="4662949"/>
            <a:ext cx="6474865" cy="2059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2" tIns="45696" rIns="91392" bIns="45696" numCol="1" anchor="b" anchorCtr="0" compatLnSpc="1">
            <a:prstTxWarp prst="textNoShape">
              <a:avLst/>
            </a:prstTxWarp>
          </a:bodyPr>
          <a:lstStyle/>
          <a:p>
            <a:pPr marL="266540" indent="-266540" defTabSz="914126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</a:pP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Licensed 28GHz spectrum</a:t>
            </a:r>
          </a:p>
          <a:p>
            <a:pPr marL="266540" indent="-266540" defTabSz="914126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</a:pP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Ultra broadband, </a:t>
            </a:r>
            <a:r>
              <a:rPr lang="en-US" sz="1600" b="1" kern="0" dirty="0" err="1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fibre</a:t>
            </a: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-like services with </a:t>
            </a:r>
            <a:r>
              <a:rPr lang="en-US" sz="1600" b="1" kern="0" dirty="0" err="1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QoS</a:t>
            </a:r>
            <a:endParaRPr lang="en-US" sz="1600" b="1" kern="0" dirty="0">
              <a:solidFill>
                <a:srgbClr val="FFFFFF"/>
              </a:solidFill>
              <a:effectLst>
                <a:glow rad="190500">
                  <a:srgbClr val="000000">
                    <a:satMod val="175000"/>
                    <a:alpha val="40000"/>
                  </a:srgbClr>
                </a:glow>
              </a:effectLst>
              <a:latin typeface="Arial" charset="0"/>
            </a:endParaRPr>
          </a:p>
          <a:p>
            <a:pPr marL="266540" indent="-266540" defTabSz="914126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</a:pP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Extended Coverage, addressing rural, semi-rural &amp; sub-urban </a:t>
            </a:r>
          </a:p>
          <a:p>
            <a:pPr marL="266540" indent="-266540" defTabSz="914126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</a:pP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Dense network of several 100s of terminals per Base Station </a:t>
            </a:r>
          </a:p>
          <a:p>
            <a:pPr marL="266540" indent="-266540" defTabSz="914126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</a:pP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Massive nationwide network rollout</a:t>
            </a:r>
          </a:p>
          <a:p>
            <a:pPr marL="266540" indent="-266540" defTabSz="914126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C50000"/>
              </a:buClr>
              <a:buSzPct val="100000"/>
              <a:buFont typeface="PF Square Sans Pro" pitchFamily="2" charset="0"/>
              <a:buChar char="▶"/>
            </a:pP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Reliable Wireless backhauling with </a:t>
            </a:r>
            <a:r>
              <a:rPr lang="en-US" sz="1600" b="1" dirty="0" err="1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UltraLink</a:t>
            </a:r>
            <a:r>
              <a:rPr lang="en-US" sz="1600" b="1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™ </a:t>
            </a:r>
            <a:r>
              <a:rPr lang="en-US" sz="1600" b="1" kern="0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 charset="0"/>
              </a:rPr>
              <a:t>E-Band radio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1454" y="3632238"/>
            <a:ext cx="769523" cy="4837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0798237" y="3601843"/>
            <a:ext cx="800011" cy="461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239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Italy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-13709" y="4310195"/>
            <a:ext cx="12204122" cy="501521"/>
          </a:xfrm>
          <a:prstGeom prst="rect">
            <a:avLst/>
          </a:prstGeom>
          <a:solidFill>
            <a:schemeClr val="tx1">
              <a:alpha val="70000"/>
            </a:schemeClr>
          </a:solidFill>
          <a:ln w="317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2598" b="1" kern="0" cap="all" dirty="0">
                <a:solidFill>
                  <a:srgbClr val="FFFFFF"/>
                </a:solidFill>
                <a:latin typeface="Arial"/>
                <a:cs typeface="Calibri" pitchFamily="34" charset="0"/>
              </a:rPr>
              <a:t>The largest </a:t>
            </a:r>
            <a:r>
              <a:rPr lang="en-US" sz="2598" b="1" kern="0" cap="all" dirty="0" err="1">
                <a:solidFill>
                  <a:srgbClr val="FFFFFF"/>
                </a:solidFill>
                <a:latin typeface="Arial"/>
                <a:cs typeface="Calibri" pitchFamily="34" charset="0"/>
              </a:rPr>
              <a:t>mmWave</a:t>
            </a:r>
            <a:r>
              <a:rPr lang="en-US" sz="2598" b="1" kern="0" cap="all" dirty="0">
                <a:solidFill>
                  <a:srgbClr val="FFFFFF"/>
                </a:solidFill>
                <a:latin typeface="Arial"/>
                <a:cs typeface="Calibri" pitchFamily="34" charset="0"/>
              </a:rPr>
              <a:t> FWA network worldwide </a:t>
            </a:r>
            <a:endParaRPr lang="el-GR" sz="2598" cap="all" dirty="0">
              <a:solidFill>
                <a:srgbClr val="696A6C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5941" y="4871793"/>
            <a:ext cx="1255746" cy="18689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939" y="5477675"/>
            <a:ext cx="2945275" cy="55650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517308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708" y="6688558"/>
            <a:ext cx="526913" cy="215844"/>
          </a:xfrm>
        </p:spPr>
        <p:txBody>
          <a:bodyPr/>
          <a:lstStyle/>
          <a:p>
            <a:pPr defTabSz="914126" fontAlgn="base">
              <a:spcAft>
                <a:spcPct val="0"/>
              </a:spcAft>
              <a:defRPr/>
            </a:pPr>
            <a:fld id="{A8FEDF21-34A2-4C34-8543-4A34323268A3}" type="slidenum">
              <a:rPr lang="ru-RU"/>
              <a:pPr defTabSz="914126" fontAlgn="base">
                <a:spcAft>
                  <a:spcPct val="0"/>
                </a:spcAft>
                <a:defRPr/>
              </a:pPr>
              <a:t>11</a:t>
            </a:fld>
            <a:endParaRPr lang="ru-RU"/>
          </a:p>
        </p:txBody>
      </p:sp>
      <p:sp>
        <p:nvSpPr>
          <p:cNvPr id="5" name="Footer Placeholder 3"/>
          <p:cNvSpPr txBox="1">
            <a:spLocks/>
          </p:cNvSpPr>
          <p:nvPr/>
        </p:nvSpPr>
        <p:spPr bwMode="auto">
          <a:xfrm>
            <a:off x="4915212" y="6641268"/>
            <a:ext cx="3196393" cy="23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err="1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rPr>
              <a:t>Intracom</a:t>
            </a:r>
            <a:r>
              <a:rPr lang="en-US" sz="1000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rPr>
              <a:t> Telecom Confidential</a:t>
            </a:r>
            <a:endParaRPr lang="el-GR" sz="1000" dirty="0">
              <a:solidFill>
                <a:srgbClr val="FFFFFF"/>
              </a:solidFill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749E16DE-75F2-8C0B-F760-288F53224776}"/>
              </a:ext>
            </a:extLst>
          </p:cNvPr>
          <p:cNvSpPr/>
          <p:nvPr/>
        </p:nvSpPr>
        <p:spPr>
          <a:xfrm>
            <a:off x="501307" y="2905448"/>
            <a:ext cx="5237543" cy="2025222"/>
          </a:xfrm>
          <a:custGeom>
            <a:avLst/>
            <a:gdLst>
              <a:gd name="connsiteX0" fmla="*/ 0 w 11477296"/>
              <a:gd name="connsiteY0" fmla="*/ 167748 h 1677475"/>
              <a:gd name="connsiteX1" fmla="*/ 167748 w 11477296"/>
              <a:gd name="connsiteY1" fmla="*/ 0 h 1677475"/>
              <a:gd name="connsiteX2" fmla="*/ 11309549 w 11477296"/>
              <a:gd name="connsiteY2" fmla="*/ 0 h 1677475"/>
              <a:gd name="connsiteX3" fmla="*/ 11477297 w 11477296"/>
              <a:gd name="connsiteY3" fmla="*/ 167748 h 1677475"/>
              <a:gd name="connsiteX4" fmla="*/ 11477296 w 11477296"/>
              <a:gd name="connsiteY4" fmla="*/ 1509728 h 1677475"/>
              <a:gd name="connsiteX5" fmla="*/ 11309548 w 11477296"/>
              <a:gd name="connsiteY5" fmla="*/ 1677476 h 1677475"/>
              <a:gd name="connsiteX6" fmla="*/ 167748 w 11477296"/>
              <a:gd name="connsiteY6" fmla="*/ 1677475 h 1677475"/>
              <a:gd name="connsiteX7" fmla="*/ 0 w 11477296"/>
              <a:gd name="connsiteY7" fmla="*/ 1509727 h 1677475"/>
              <a:gd name="connsiteX8" fmla="*/ 0 w 11477296"/>
              <a:gd name="connsiteY8" fmla="*/ 167748 h 1677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77296" h="1677475">
                <a:moveTo>
                  <a:pt x="0" y="167748"/>
                </a:moveTo>
                <a:cubicBezTo>
                  <a:pt x="0" y="75103"/>
                  <a:pt x="75103" y="0"/>
                  <a:pt x="167748" y="0"/>
                </a:cubicBezTo>
                <a:lnTo>
                  <a:pt x="11309549" y="0"/>
                </a:lnTo>
                <a:cubicBezTo>
                  <a:pt x="11402194" y="0"/>
                  <a:pt x="11477297" y="75103"/>
                  <a:pt x="11477297" y="167748"/>
                </a:cubicBezTo>
                <a:cubicBezTo>
                  <a:pt x="11477297" y="615075"/>
                  <a:pt x="11477296" y="1062401"/>
                  <a:pt x="11477296" y="1509728"/>
                </a:cubicBezTo>
                <a:cubicBezTo>
                  <a:pt x="11477296" y="1602373"/>
                  <a:pt x="11402193" y="1677476"/>
                  <a:pt x="11309548" y="1677476"/>
                </a:cubicBezTo>
                <a:lnTo>
                  <a:pt x="167748" y="1677475"/>
                </a:lnTo>
                <a:cubicBezTo>
                  <a:pt x="75103" y="1677475"/>
                  <a:pt x="0" y="1602372"/>
                  <a:pt x="0" y="1509727"/>
                </a:cubicBezTo>
                <a:lnTo>
                  <a:pt x="0" y="167748"/>
                </a:lnTo>
                <a:close/>
              </a:path>
            </a:pathLst>
          </a:custGeom>
          <a:solidFill>
            <a:srgbClr val="727272">
              <a:alpha val="69000"/>
            </a:srgbClr>
          </a:solidFill>
          <a:ln w="92075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50800"/>
          </a:sp3d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3d/>
          </a:bodyPr>
          <a:lstStyle/>
          <a:p>
            <a:pPr algn="ctr" defTabSz="418974" fontAlgn="base">
              <a:defRPr/>
            </a:pPr>
            <a:r>
              <a:rPr lang="en-US" sz="3199" b="1" dirty="0">
                <a:solidFill>
                  <a:srgbClr val="FFFF00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/>
              </a:rPr>
              <a:t>Base Station Hubs </a:t>
            </a:r>
            <a:r>
              <a:rPr lang="el-GR" sz="6598" b="1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mata" panose="020B0503040500060204" pitchFamily="34" charset="0"/>
              </a:rPr>
              <a:t>1</a:t>
            </a:r>
            <a:r>
              <a:rPr lang="en-US" sz="6598" b="1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mata" panose="020B0503040500060204" pitchFamily="34" charset="0"/>
              </a:rPr>
              <a:t>8,000</a:t>
            </a:r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A31CE9EF-D749-1ECD-4801-928B7D6D8A70}"/>
              </a:ext>
            </a:extLst>
          </p:cNvPr>
          <p:cNvSpPr/>
          <p:nvPr/>
        </p:nvSpPr>
        <p:spPr>
          <a:xfrm>
            <a:off x="6411620" y="2905447"/>
            <a:ext cx="5237543" cy="2025221"/>
          </a:xfrm>
          <a:custGeom>
            <a:avLst/>
            <a:gdLst>
              <a:gd name="connsiteX0" fmla="*/ 0 w 11477296"/>
              <a:gd name="connsiteY0" fmla="*/ 159059 h 1590591"/>
              <a:gd name="connsiteX1" fmla="*/ 159059 w 11477296"/>
              <a:gd name="connsiteY1" fmla="*/ 0 h 1590591"/>
              <a:gd name="connsiteX2" fmla="*/ 11318237 w 11477296"/>
              <a:gd name="connsiteY2" fmla="*/ 0 h 1590591"/>
              <a:gd name="connsiteX3" fmla="*/ 11477296 w 11477296"/>
              <a:gd name="connsiteY3" fmla="*/ 159059 h 1590591"/>
              <a:gd name="connsiteX4" fmla="*/ 11477296 w 11477296"/>
              <a:gd name="connsiteY4" fmla="*/ 1431532 h 1590591"/>
              <a:gd name="connsiteX5" fmla="*/ 11318237 w 11477296"/>
              <a:gd name="connsiteY5" fmla="*/ 1590591 h 1590591"/>
              <a:gd name="connsiteX6" fmla="*/ 159059 w 11477296"/>
              <a:gd name="connsiteY6" fmla="*/ 1590591 h 1590591"/>
              <a:gd name="connsiteX7" fmla="*/ 0 w 11477296"/>
              <a:gd name="connsiteY7" fmla="*/ 1431532 h 1590591"/>
              <a:gd name="connsiteX8" fmla="*/ 0 w 11477296"/>
              <a:gd name="connsiteY8" fmla="*/ 159059 h 1590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77296" h="1590591">
                <a:moveTo>
                  <a:pt x="0" y="159059"/>
                </a:moveTo>
                <a:cubicBezTo>
                  <a:pt x="0" y="71213"/>
                  <a:pt x="71213" y="0"/>
                  <a:pt x="159059" y="0"/>
                </a:cubicBezTo>
                <a:lnTo>
                  <a:pt x="11318237" y="0"/>
                </a:lnTo>
                <a:cubicBezTo>
                  <a:pt x="11406083" y="0"/>
                  <a:pt x="11477296" y="71213"/>
                  <a:pt x="11477296" y="159059"/>
                </a:cubicBezTo>
                <a:lnTo>
                  <a:pt x="11477296" y="1431532"/>
                </a:lnTo>
                <a:cubicBezTo>
                  <a:pt x="11477296" y="1519378"/>
                  <a:pt x="11406083" y="1590591"/>
                  <a:pt x="11318237" y="1590591"/>
                </a:cubicBezTo>
                <a:lnTo>
                  <a:pt x="159059" y="1590591"/>
                </a:lnTo>
                <a:cubicBezTo>
                  <a:pt x="71213" y="1590591"/>
                  <a:pt x="0" y="1519378"/>
                  <a:pt x="0" y="1431532"/>
                </a:cubicBezTo>
                <a:lnTo>
                  <a:pt x="0" y="159059"/>
                </a:lnTo>
                <a:close/>
              </a:path>
            </a:pathLst>
          </a:custGeom>
          <a:solidFill>
            <a:srgbClr val="727272">
              <a:alpha val="69000"/>
            </a:srgbClr>
          </a:solidFill>
          <a:ln w="92075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50800"/>
          </a:sp3d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3d/>
          </a:bodyPr>
          <a:lstStyle/>
          <a:p>
            <a:pPr marL="2375287" indent="-2513846" algn="ctr" defTabSz="418974" fontAlgn="base">
              <a:defRPr/>
            </a:pPr>
            <a:r>
              <a:rPr lang="en-US" sz="3199" b="1" dirty="0">
                <a:solidFill>
                  <a:srgbClr val="FFFF00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ial"/>
              </a:rPr>
              <a:t>FWA Terminals </a:t>
            </a:r>
          </a:p>
          <a:p>
            <a:pPr marL="2375287" indent="-2513846" algn="ctr" defTabSz="418974" fontAlgn="base">
              <a:defRPr/>
            </a:pPr>
            <a:r>
              <a:rPr lang="en-US" sz="6598" b="1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mata" panose="020B0503040500060204" pitchFamily="34" charset="0"/>
              </a:rPr>
              <a:t>500,000</a:t>
            </a: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CBAC2F5E-CB9D-5661-F4C1-CCAEEC90399C}"/>
              </a:ext>
            </a:extLst>
          </p:cNvPr>
          <p:cNvSpPr/>
          <p:nvPr/>
        </p:nvSpPr>
        <p:spPr>
          <a:xfrm>
            <a:off x="501308" y="1435620"/>
            <a:ext cx="11147856" cy="1185427"/>
          </a:xfrm>
          <a:custGeom>
            <a:avLst/>
            <a:gdLst>
              <a:gd name="connsiteX0" fmla="*/ 0 w 11477296"/>
              <a:gd name="connsiteY0" fmla="*/ 167748 h 1677475"/>
              <a:gd name="connsiteX1" fmla="*/ 167748 w 11477296"/>
              <a:gd name="connsiteY1" fmla="*/ 0 h 1677475"/>
              <a:gd name="connsiteX2" fmla="*/ 11309549 w 11477296"/>
              <a:gd name="connsiteY2" fmla="*/ 0 h 1677475"/>
              <a:gd name="connsiteX3" fmla="*/ 11477297 w 11477296"/>
              <a:gd name="connsiteY3" fmla="*/ 167748 h 1677475"/>
              <a:gd name="connsiteX4" fmla="*/ 11477296 w 11477296"/>
              <a:gd name="connsiteY4" fmla="*/ 1509728 h 1677475"/>
              <a:gd name="connsiteX5" fmla="*/ 11309548 w 11477296"/>
              <a:gd name="connsiteY5" fmla="*/ 1677476 h 1677475"/>
              <a:gd name="connsiteX6" fmla="*/ 167748 w 11477296"/>
              <a:gd name="connsiteY6" fmla="*/ 1677475 h 1677475"/>
              <a:gd name="connsiteX7" fmla="*/ 0 w 11477296"/>
              <a:gd name="connsiteY7" fmla="*/ 1509727 h 1677475"/>
              <a:gd name="connsiteX8" fmla="*/ 0 w 11477296"/>
              <a:gd name="connsiteY8" fmla="*/ 167748 h 1677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77296" h="1677475">
                <a:moveTo>
                  <a:pt x="0" y="167748"/>
                </a:moveTo>
                <a:cubicBezTo>
                  <a:pt x="0" y="75103"/>
                  <a:pt x="75103" y="0"/>
                  <a:pt x="167748" y="0"/>
                </a:cubicBezTo>
                <a:lnTo>
                  <a:pt x="11309549" y="0"/>
                </a:lnTo>
                <a:cubicBezTo>
                  <a:pt x="11402194" y="0"/>
                  <a:pt x="11477297" y="75103"/>
                  <a:pt x="11477297" y="167748"/>
                </a:cubicBezTo>
                <a:cubicBezTo>
                  <a:pt x="11477297" y="615075"/>
                  <a:pt x="11477296" y="1062401"/>
                  <a:pt x="11477296" y="1509728"/>
                </a:cubicBezTo>
                <a:cubicBezTo>
                  <a:pt x="11477296" y="1602373"/>
                  <a:pt x="11402193" y="1677476"/>
                  <a:pt x="11309548" y="1677476"/>
                </a:cubicBezTo>
                <a:lnTo>
                  <a:pt x="167748" y="1677475"/>
                </a:lnTo>
                <a:cubicBezTo>
                  <a:pt x="75103" y="1677475"/>
                  <a:pt x="0" y="1602372"/>
                  <a:pt x="0" y="1509727"/>
                </a:cubicBezTo>
                <a:lnTo>
                  <a:pt x="0" y="167748"/>
                </a:lnTo>
                <a:close/>
              </a:path>
            </a:pathLst>
          </a:custGeom>
          <a:solidFill>
            <a:srgbClr val="727272">
              <a:alpha val="69000"/>
            </a:srgbClr>
          </a:solidFill>
          <a:ln w="92075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50800"/>
          </a:sp3d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3d/>
          </a:bodyPr>
          <a:lstStyle/>
          <a:p>
            <a:pPr marL="0" lvl="1" algn="ctr" defTabSz="914126" fontAlgn="base">
              <a:spcBef>
                <a:spcPts val="1799"/>
              </a:spcBef>
              <a:spcAft>
                <a:spcPts val="360"/>
              </a:spcAft>
              <a:defRPr/>
            </a:pPr>
            <a:r>
              <a:rPr lang="en-US" sz="5398" b="1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mata" panose="020B0503040500060204" pitchFamily="34" charset="0"/>
              </a:rPr>
              <a:t>&gt;50 networks worldwide</a:t>
            </a:r>
          </a:p>
        </p:txBody>
      </p:sp>
      <p:sp>
        <p:nvSpPr>
          <p:cNvPr id="14" name="Freeform 10">
            <a:extLst>
              <a:ext uri="{FF2B5EF4-FFF2-40B4-BE49-F238E27FC236}">
                <a16:creationId xmlns:a16="http://schemas.microsoft.com/office/drawing/2014/main" id="{A4FAD5FE-82A2-702C-3845-25ADC1C4955D}"/>
              </a:ext>
            </a:extLst>
          </p:cNvPr>
          <p:cNvSpPr/>
          <p:nvPr/>
        </p:nvSpPr>
        <p:spPr>
          <a:xfrm>
            <a:off x="501307" y="5341565"/>
            <a:ext cx="11147856" cy="969584"/>
          </a:xfrm>
          <a:custGeom>
            <a:avLst/>
            <a:gdLst>
              <a:gd name="connsiteX0" fmla="*/ 0 w 11477296"/>
              <a:gd name="connsiteY0" fmla="*/ 167748 h 1677475"/>
              <a:gd name="connsiteX1" fmla="*/ 167748 w 11477296"/>
              <a:gd name="connsiteY1" fmla="*/ 0 h 1677475"/>
              <a:gd name="connsiteX2" fmla="*/ 11309549 w 11477296"/>
              <a:gd name="connsiteY2" fmla="*/ 0 h 1677475"/>
              <a:gd name="connsiteX3" fmla="*/ 11477297 w 11477296"/>
              <a:gd name="connsiteY3" fmla="*/ 167748 h 1677475"/>
              <a:gd name="connsiteX4" fmla="*/ 11477296 w 11477296"/>
              <a:gd name="connsiteY4" fmla="*/ 1509728 h 1677475"/>
              <a:gd name="connsiteX5" fmla="*/ 11309548 w 11477296"/>
              <a:gd name="connsiteY5" fmla="*/ 1677476 h 1677475"/>
              <a:gd name="connsiteX6" fmla="*/ 167748 w 11477296"/>
              <a:gd name="connsiteY6" fmla="*/ 1677475 h 1677475"/>
              <a:gd name="connsiteX7" fmla="*/ 0 w 11477296"/>
              <a:gd name="connsiteY7" fmla="*/ 1509727 h 1677475"/>
              <a:gd name="connsiteX8" fmla="*/ 0 w 11477296"/>
              <a:gd name="connsiteY8" fmla="*/ 167748 h 1677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77296" h="1677475">
                <a:moveTo>
                  <a:pt x="0" y="167748"/>
                </a:moveTo>
                <a:cubicBezTo>
                  <a:pt x="0" y="75103"/>
                  <a:pt x="75103" y="0"/>
                  <a:pt x="167748" y="0"/>
                </a:cubicBezTo>
                <a:lnTo>
                  <a:pt x="11309549" y="0"/>
                </a:lnTo>
                <a:cubicBezTo>
                  <a:pt x="11402194" y="0"/>
                  <a:pt x="11477297" y="75103"/>
                  <a:pt x="11477297" y="167748"/>
                </a:cubicBezTo>
                <a:cubicBezTo>
                  <a:pt x="11477297" y="615075"/>
                  <a:pt x="11477296" y="1062401"/>
                  <a:pt x="11477296" y="1509728"/>
                </a:cubicBezTo>
                <a:cubicBezTo>
                  <a:pt x="11477296" y="1602373"/>
                  <a:pt x="11402193" y="1677476"/>
                  <a:pt x="11309548" y="1677476"/>
                </a:cubicBezTo>
                <a:lnTo>
                  <a:pt x="167748" y="1677475"/>
                </a:lnTo>
                <a:cubicBezTo>
                  <a:pt x="75103" y="1677475"/>
                  <a:pt x="0" y="1602372"/>
                  <a:pt x="0" y="1509727"/>
                </a:cubicBezTo>
                <a:lnTo>
                  <a:pt x="0" y="167748"/>
                </a:lnTo>
                <a:close/>
              </a:path>
            </a:pathLst>
          </a:custGeom>
          <a:solidFill>
            <a:srgbClr val="727272">
              <a:alpha val="69000"/>
            </a:srgbClr>
          </a:solidFill>
          <a:ln w="92075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0" h="50800"/>
          </a:sp3d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3d/>
          </a:bodyPr>
          <a:lstStyle/>
          <a:p>
            <a:pPr marL="2513846" indent="-2513846" algn="ctr" defTabSz="41897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3199" b="1" dirty="0">
                <a:solidFill>
                  <a:srgbClr val="FFFFFF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mata" panose="020B0503040500060204" pitchFamily="34" charset="0"/>
              </a:rPr>
              <a:t>Accumulated expertise &amp; know how for </a:t>
            </a:r>
            <a:r>
              <a:rPr lang="en-US" sz="3199" b="1" dirty="0">
                <a:solidFill>
                  <a:srgbClr val="FFFF00"/>
                </a:solidFill>
                <a:effectLst>
                  <a:glow rad="190500">
                    <a:srgbClr val="000000">
                      <a:satMod val="175000"/>
                      <a:alpha val="40000"/>
                    </a:srgbClr>
                  </a:glow>
                </a:effectLst>
                <a:latin typeface="Armata" panose="020B0503040500060204" pitchFamily="34" charset="0"/>
              </a:rPr>
              <a:t>20 yea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D2AC71-A035-ADBA-E753-53477646199E}"/>
              </a:ext>
            </a:extLst>
          </p:cNvPr>
          <p:cNvSpPr/>
          <p:nvPr/>
        </p:nvSpPr>
        <p:spPr>
          <a:xfrm>
            <a:off x="3120077" y="383451"/>
            <a:ext cx="7000775" cy="341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91412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799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Reliable solution proven worldwid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6AF742-5B85-145E-39D4-7825AC0960C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817" y="236366"/>
            <a:ext cx="2576594" cy="488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66915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DD0FE-C43D-0152-173E-1F6171C60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419" y="117475"/>
            <a:ext cx="7967133" cy="8636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Nationwide 24/28 GHz Availability</a:t>
            </a:r>
          </a:p>
        </p:txBody>
      </p:sp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494FC09C-0EFE-D577-8235-1407E1DB3B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8" r="-2" b="9810"/>
          <a:stretch/>
        </p:blipFill>
        <p:spPr bwMode="auto">
          <a:xfrm>
            <a:off x="623392" y="1341440"/>
            <a:ext cx="10944192" cy="4608512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8B494-7D1B-0F22-C779-134D8F7B0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55147" y="6453189"/>
            <a:ext cx="527050" cy="215900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  <a:defRPr/>
            </a:pPr>
            <a:fld id="{D545AE75-7117-4D34-B285-AD21001699FA}" type="slidenum">
              <a:rPr lang="ru-RU" smtClean="0"/>
              <a:pPr>
                <a:spcAft>
                  <a:spcPts val="600"/>
                </a:spcAft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387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on a tower with a sunset in the background&#10;&#10;Description automatically generated">
            <a:extLst>
              <a:ext uri="{FF2B5EF4-FFF2-40B4-BE49-F238E27FC236}">
                <a16:creationId xmlns:a16="http://schemas.microsoft.com/office/drawing/2014/main" id="{ED099E3B-07B8-3C89-159E-8622C54EFC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5592"/>
            <a:ext cx="12189534" cy="58715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of Microwave links today</a:t>
            </a:r>
            <a:endParaRPr lang="el-GR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20892" y="958287"/>
            <a:ext cx="7009683" cy="2542702"/>
          </a:xfrm>
        </p:spPr>
        <p:txBody>
          <a:bodyPr/>
          <a:lstStyle/>
          <a:p>
            <a:pPr marL="0" lvl="3" indent="0"/>
            <a:r>
              <a:rPr lang="en-US" sz="2199" b="1" dirty="0">
                <a:solidFill>
                  <a:srgbClr val="C00000"/>
                </a:solidFill>
              </a:rPr>
              <a:t>The network</a:t>
            </a:r>
          </a:p>
          <a:p>
            <a:pPr marL="0" lvl="3" indent="0"/>
            <a:r>
              <a:rPr lang="en-US" sz="1799" dirty="0">
                <a:solidFill>
                  <a:schemeClr val="tx1"/>
                </a:solidFill>
              </a:rPr>
              <a:t>High utilization rates in existing links with little space left for growth</a:t>
            </a:r>
          </a:p>
          <a:p>
            <a:pPr marL="0" lvl="3" indent="0"/>
            <a:endParaRPr lang="en-US" sz="1799" dirty="0"/>
          </a:p>
          <a:p>
            <a:pPr marL="0" lvl="3" indent="0"/>
            <a:endParaRPr lang="en-US" sz="1799" dirty="0"/>
          </a:p>
          <a:p>
            <a:pPr marL="0" lvl="3" indent="0"/>
            <a:r>
              <a:rPr lang="en-US" sz="2199" b="1" dirty="0">
                <a:solidFill>
                  <a:srgbClr val="C00000"/>
                </a:solidFill>
              </a:rPr>
              <a:t>The service</a:t>
            </a:r>
          </a:p>
          <a:p>
            <a:pPr marL="0" lvl="3" indent="0"/>
            <a:r>
              <a:rPr lang="en-US" sz="1799" dirty="0">
                <a:solidFill>
                  <a:schemeClr val="tx1"/>
                </a:solidFill>
              </a:rPr>
              <a:t>Reduced or downtime on services during peak demand</a:t>
            </a:r>
          </a:p>
          <a:p>
            <a:pPr marL="0" lvl="3" indent="0"/>
            <a:endParaRPr lang="en-US" sz="1799" dirty="0"/>
          </a:p>
          <a:p>
            <a:pPr marL="0" lvl="3" indent="0"/>
            <a:endParaRPr lang="en-US" sz="1799" dirty="0"/>
          </a:p>
          <a:p>
            <a:pPr marL="0" lvl="3" indent="0"/>
            <a:endParaRPr lang="en-US" sz="1799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C18BAE-25C9-D4E8-5E51-E69A5AFD744B}"/>
              </a:ext>
            </a:extLst>
          </p:cNvPr>
          <p:cNvSpPr txBox="1"/>
          <p:nvPr/>
        </p:nvSpPr>
        <p:spPr>
          <a:xfrm>
            <a:off x="7607774" y="1773247"/>
            <a:ext cx="4247366" cy="1261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 defTabSz="914126">
              <a:defRPr/>
            </a:pPr>
            <a:r>
              <a:rPr lang="en-US" sz="2199" b="1" dirty="0">
                <a:solidFill>
                  <a:srgbClr val="C00000"/>
                </a:solidFill>
                <a:latin typeface="Arial"/>
              </a:rPr>
              <a:t>Regulator trend </a:t>
            </a:r>
          </a:p>
          <a:p>
            <a:pPr marL="0" lvl="3" defTabSz="914126">
              <a:defRPr/>
            </a:pPr>
            <a:r>
              <a:rPr lang="en-US" sz="1799" dirty="0">
                <a:solidFill>
                  <a:srgbClr val="000000"/>
                </a:solidFill>
                <a:latin typeface="Arial"/>
              </a:rPr>
              <a:t>Scarcity of spectrum </a:t>
            </a:r>
            <a:r>
              <a:rPr lang="en-US" sz="1799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 Push for increased efficiency (XPIC)</a:t>
            </a:r>
            <a:endParaRPr lang="en-US" sz="1799" dirty="0">
              <a:solidFill>
                <a:srgbClr val="000000"/>
              </a:solidFill>
              <a:latin typeface="Arial"/>
            </a:endParaRPr>
          </a:p>
          <a:p>
            <a:pPr defTabSz="914126">
              <a:defRPr/>
            </a:pPr>
            <a:endParaRPr lang="en-US" sz="1799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804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tralink-GX80: Highest system gain in market @10Gbps</a:t>
            </a:r>
            <a:endParaRPr lang="el-GR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496537" y="1197333"/>
            <a:ext cx="9430592" cy="5327205"/>
          </a:xfrm>
        </p:spPr>
        <p:txBody>
          <a:bodyPr/>
          <a:lstStyle/>
          <a:p>
            <a:r>
              <a:rPr lang="en-US" sz="1999" b="1" dirty="0" err="1"/>
              <a:t>OpEx</a:t>
            </a:r>
            <a:r>
              <a:rPr lang="en-US" sz="1999" b="1" dirty="0"/>
              <a:t> savings</a:t>
            </a:r>
          </a:p>
          <a:p>
            <a:pPr marL="342797" indent="-342797">
              <a:buFont typeface="Wingdings" panose="05000000000000000000" pitchFamily="2" charset="2"/>
              <a:buChar char="§"/>
            </a:pPr>
            <a:r>
              <a:rPr lang="en-US" sz="1999" dirty="0"/>
              <a:t>Longer link distances</a:t>
            </a:r>
          </a:p>
          <a:p>
            <a:pPr marL="342797" indent="-342797">
              <a:buFont typeface="Wingdings" panose="05000000000000000000" pitchFamily="2" charset="2"/>
              <a:buChar char="§"/>
            </a:pPr>
            <a:r>
              <a:rPr lang="en-US" sz="1999" dirty="0"/>
              <a:t>More robust links during weather anomalies</a:t>
            </a:r>
            <a:br>
              <a:rPr lang="en-US" sz="1999" dirty="0"/>
            </a:br>
            <a:r>
              <a:rPr lang="en-US" sz="1999" dirty="0">
                <a:sym typeface="Wingdings" panose="05000000000000000000" pitchFamily="2" charset="2"/>
              </a:rPr>
              <a:t></a:t>
            </a:r>
            <a:r>
              <a:rPr lang="en-US" sz="1999" dirty="0"/>
              <a:t> Capacity will be more stable</a:t>
            </a:r>
          </a:p>
          <a:p>
            <a:pPr marL="342797" indent="-342797">
              <a:buFont typeface="Wingdings" panose="05000000000000000000" pitchFamily="2" charset="2"/>
              <a:buChar char="§"/>
            </a:pPr>
            <a:r>
              <a:rPr lang="en-US" sz="1999" dirty="0"/>
              <a:t>Better link reliability</a:t>
            </a:r>
            <a:br>
              <a:rPr lang="en-US" sz="1999" dirty="0"/>
            </a:br>
            <a:r>
              <a:rPr lang="en-US" sz="1999" dirty="0">
                <a:sym typeface="Wingdings" panose="05000000000000000000" pitchFamily="2" charset="2"/>
              </a:rPr>
              <a:t></a:t>
            </a:r>
            <a:r>
              <a:rPr lang="en-US" sz="1999" dirty="0"/>
              <a:t> Link will be active longer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sz="1999" b="1" dirty="0" err="1"/>
              <a:t>CapEx</a:t>
            </a:r>
            <a:r>
              <a:rPr lang="en-US" sz="1999" b="1" dirty="0"/>
              <a:t> savings</a:t>
            </a:r>
          </a:p>
          <a:p>
            <a:pPr marL="342797" indent="-342797">
              <a:buFont typeface="Wingdings" panose="05000000000000000000" pitchFamily="2" charset="2"/>
              <a:buChar char="§"/>
            </a:pPr>
            <a:r>
              <a:rPr lang="en-US" sz="1999" dirty="0"/>
              <a:t>One or both sides of the link may have the same performance with smaller antennas</a:t>
            </a:r>
            <a:br>
              <a:rPr lang="en-US" sz="1999" dirty="0"/>
            </a:br>
            <a:r>
              <a:rPr lang="en-US" sz="1999" dirty="0">
                <a:sym typeface="Wingdings" panose="05000000000000000000" pitchFamily="2" charset="2"/>
              </a:rPr>
              <a:t></a:t>
            </a:r>
            <a:r>
              <a:rPr lang="en-US" sz="1999" dirty="0"/>
              <a:t> Smaller rental space on the tower </a:t>
            </a:r>
          </a:p>
          <a:p>
            <a:pPr marL="342797" indent="-342797">
              <a:buFont typeface="Wingdings" panose="05000000000000000000" pitchFamily="2" charset="2"/>
              <a:buChar char="§"/>
            </a:pPr>
            <a:r>
              <a:rPr lang="en-US" sz="1999" dirty="0"/>
              <a:t>Easier alignment</a:t>
            </a:r>
          </a:p>
          <a:p>
            <a:pPr marL="342797" indent="-342797">
              <a:buFont typeface="Wingdings" panose="05000000000000000000" pitchFamily="2" charset="2"/>
              <a:buChar char="§"/>
            </a:pPr>
            <a:r>
              <a:rPr lang="en-US" sz="1999" dirty="0"/>
              <a:t>Better stability on poles</a:t>
            </a:r>
          </a:p>
          <a:p>
            <a:endParaRPr lang="el-GR" dirty="0"/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 </a:t>
            </a:r>
            <a:endParaRPr lang="el-GR" dirty="0"/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56752" y="2493140"/>
            <a:ext cx="899766" cy="899766"/>
            <a:chOff x="3829335" y="4225999"/>
            <a:chExt cx="1440160" cy="1440160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9022" y="4403900"/>
              <a:ext cx="1060788" cy="1084360"/>
            </a:xfrm>
            <a:prstGeom prst="rect">
              <a:avLst/>
            </a:prstGeom>
          </p:spPr>
        </p:pic>
        <p:sp>
          <p:nvSpPr>
            <p:cNvPr id="15" name="Oval 14"/>
            <p:cNvSpPr/>
            <p:nvPr/>
          </p:nvSpPr>
          <p:spPr bwMode="auto">
            <a:xfrm>
              <a:off x="3829335" y="4225999"/>
              <a:ext cx="1440160" cy="1440160"/>
            </a:xfrm>
            <a:prstGeom prst="ellipse">
              <a:avLst/>
            </a:prstGeom>
            <a:noFill/>
            <a:ln w="22225" cap="flat" cmpd="sng" algn="ctr">
              <a:solidFill>
                <a:srgbClr val="C5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914126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l-GR" sz="1600">
                <a:solidFill>
                  <a:srgbClr val="696A6C"/>
                </a:solidFill>
                <a:latin typeface="Arial" charset="0"/>
              </a:endParaRPr>
            </a:p>
          </p:txBody>
        </p:sp>
      </p:grpSp>
      <p:sp>
        <p:nvSpPr>
          <p:cNvPr id="18" name="Line 4"/>
          <p:cNvSpPr>
            <a:spLocks noChangeShapeType="1"/>
          </p:cNvSpPr>
          <p:nvPr/>
        </p:nvSpPr>
        <p:spPr bwMode="auto">
          <a:xfrm>
            <a:off x="2640516" y="1629269"/>
            <a:ext cx="1871721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14126">
              <a:defRPr/>
            </a:pPr>
            <a:endParaRPr lang="el-GR" sz="1799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Line 4"/>
          <p:cNvSpPr>
            <a:spLocks noChangeShapeType="1"/>
          </p:cNvSpPr>
          <p:nvPr/>
        </p:nvSpPr>
        <p:spPr bwMode="auto">
          <a:xfrm>
            <a:off x="2640516" y="4364860"/>
            <a:ext cx="1871721" cy="0"/>
          </a:xfrm>
          <a:prstGeom prst="line">
            <a:avLst/>
          </a:prstGeom>
          <a:noFill/>
          <a:ln w="28575">
            <a:solidFill>
              <a:srgbClr val="C5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14126">
              <a:defRPr/>
            </a:pPr>
            <a:endParaRPr lang="el-GR" sz="1799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720" y="5084753"/>
            <a:ext cx="676624" cy="602977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auto">
          <a:xfrm>
            <a:off x="1150053" y="4936358"/>
            <a:ext cx="899766" cy="899766"/>
          </a:xfrm>
          <a:prstGeom prst="ellipse">
            <a:avLst/>
          </a:prstGeom>
          <a:noFill/>
          <a:ln w="22225" cap="flat" cmpd="sng" algn="ctr">
            <a:solidFill>
              <a:srgbClr val="C5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126" fontAlgn="base">
              <a:spcBef>
                <a:spcPct val="20000"/>
              </a:spcBef>
              <a:spcAft>
                <a:spcPct val="0"/>
              </a:spcAft>
              <a:defRPr/>
            </a:pPr>
            <a:endParaRPr lang="el-GR" sz="1600">
              <a:solidFill>
                <a:srgbClr val="696A6C"/>
              </a:solidFill>
              <a:latin typeface="Arial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CEFD29-FA01-A80B-6571-F583B93EB42E}"/>
              </a:ext>
            </a:extLst>
          </p:cNvPr>
          <p:cNvSpPr/>
          <p:nvPr/>
        </p:nvSpPr>
        <p:spPr>
          <a:xfrm>
            <a:off x="8183688" y="2404826"/>
            <a:ext cx="3447634" cy="1753869"/>
          </a:xfrm>
          <a:prstGeom prst="rect">
            <a:avLst/>
          </a:prstGeom>
          <a:noFill/>
        </p:spPr>
        <p:txBody>
          <a:bodyPr wrap="square" lIns="91416" tIns="45708" rIns="91416" bIns="45708">
            <a:spAutoFit/>
          </a:bodyPr>
          <a:lstStyle/>
          <a:p>
            <a:pPr algn="ctr" defTabSz="914126">
              <a:defRPr/>
            </a:pPr>
            <a:r>
              <a:rPr lang="en-US" sz="5398" b="1" dirty="0">
                <a:ln w="22225">
                  <a:solidFill>
                    <a:srgbClr val="333399"/>
                  </a:solidFill>
                  <a:prstDash val="solid"/>
                </a:ln>
                <a:solidFill>
                  <a:srgbClr val="333399">
                    <a:lumMod val="40000"/>
                    <a:lumOff val="60000"/>
                  </a:srgbClr>
                </a:solidFill>
                <a:latin typeface="Arial"/>
              </a:rPr>
              <a:t>70.6 dB</a:t>
            </a:r>
          </a:p>
          <a:p>
            <a:pPr algn="ctr" defTabSz="914126">
              <a:defRPr/>
            </a:pPr>
            <a:r>
              <a:rPr lang="en-US" sz="5398" b="1" dirty="0">
                <a:ln w="22225">
                  <a:solidFill>
                    <a:srgbClr val="333399"/>
                  </a:solidFill>
                  <a:prstDash val="solid"/>
                </a:ln>
                <a:solidFill>
                  <a:srgbClr val="333399">
                    <a:lumMod val="40000"/>
                    <a:lumOff val="60000"/>
                  </a:srgbClr>
                </a:solidFill>
                <a:latin typeface="Arial"/>
              </a:rPr>
              <a:t>@10Gbps</a:t>
            </a:r>
          </a:p>
        </p:txBody>
      </p:sp>
    </p:spTree>
    <p:extLst>
      <p:ext uri="{BB962C8B-B14F-4D97-AF65-F5344CB8AC3E}">
        <p14:creationId xmlns:p14="http://schemas.microsoft.com/office/powerpoint/2010/main" val="5700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229374" y="53565"/>
            <a:ext cx="8242271" cy="863375"/>
          </a:xfrm>
        </p:spPr>
        <p:txBody>
          <a:bodyPr/>
          <a:lstStyle/>
          <a:p>
            <a:r>
              <a:rPr lang="en-US" dirty="0"/>
              <a:t>UltraLink</a:t>
            </a:r>
            <a:r>
              <a:rPr lang="en-US" baseline="30000" dirty="0"/>
              <a:t>TM</a:t>
            </a:r>
            <a:r>
              <a:rPr lang="en-US" dirty="0"/>
              <a:t>-GX80  -  Functionality highlights</a:t>
            </a:r>
            <a:endParaRPr lang="el-GR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BD0751-ED2B-373B-FCBB-865167BB50B3}"/>
              </a:ext>
            </a:extLst>
          </p:cNvPr>
          <p:cNvSpPr txBox="1"/>
          <p:nvPr/>
        </p:nvSpPr>
        <p:spPr>
          <a:xfrm>
            <a:off x="229374" y="967370"/>
            <a:ext cx="11193831" cy="5513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Operates in 71-76/81-86GHz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125 / 250 / 500 / 750 /1000 / 1500 / 2000MHz 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1+0, 2+0 XPIC*, 2+0XPIC/RLA*, Dual Band* with Intracom Telecom and 3</a:t>
            </a:r>
            <a:r>
              <a:rPr lang="en-US" sz="1400" baseline="30000" dirty="0">
                <a:solidFill>
                  <a:srgbClr val="000000"/>
                </a:solidFill>
                <a:latin typeface="Arial"/>
              </a:rPr>
              <a:t>rd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party MW radios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Modulation 4QAM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up to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1024QAM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(depending on channel size), HACM, ATPC</a:t>
            </a:r>
            <a:endParaRPr lang="en-US" sz="500" dirty="0">
              <a:solidFill>
                <a:srgbClr val="0033CC"/>
              </a:solidFill>
              <a:latin typeface="Arial"/>
              <a:ea typeface="MS PGothic" pitchFamily="34" charset="-128"/>
            </a:endParaRP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Ethernet L1 capacity up to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10 Gbps @ 1.5GHz &amp; 2GHz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Highest System Gain @ 10Gbps @2000MHz/128QAM </a:t>
            </a:r>
          </a:p>
          <a:p>
            <a:pPr marL="799860" lvl="1" indent="-342797" defTabSz="914126">
              <a:lnSpc>
                <a:spcPct val="150000"/>
              </a:lnSpc>
              <a:spcBef>
                <a:spcPts val="600"/>
              </a:spcBef>
              <a:buClr>
                <a:srgbClr val="E31B23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  <a:ea typeface="MS PGothic" pitchFamily="34" charset="-128"/>
              </a:rPr>
              <a:t>exceeds 70dB (Enhanced power operation*)</a:t>
            </a:r>
            <a:endParaRPr lang="en-US" sz="1050" dirty="0">
              <a:solidFill>
                <a:srgbClr val="000000"/>
              </a:solidFill>
              <a:latin typeface="Arial"/>
              <a:ea typeface="MS PGothic" pitchFamily="34" charset="-128"/>
            </a:endParaRP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Integrated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Ethernet Networking 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functionality (</a:t>
            </a:r>
            <a:r>
              <a:rPr lang="en-US" sz="1400" dirty="0">
                <a:solidFill>
                  <a:srgbClr val="808080">
                    <a:lumMod val="50000"/>
                  </a:srgbClr>
                </a:solidFill>
                <a:latin typeface="Arial"/>
                <a:ea typeface="ＭＳ Ｐゴシック" pitchFamily="34" charset="-128"/>
              </a:rPr>
              <a:t>IEEE 802.1Q / 802.1ad</a:t>
            </a: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), Eth. Port LAG/LACP*,  Eth Ring Protection G.8032v2*</a:t>
            </a:r>
            <a:endParaRPr lang="en-US" sz="1400" dirty="0">
              <a:solidFill>
                <a:srgbClr val="000000"/>
              </a:solidFill>
              <a:latin typeface="Arial"/>
            </a:endParaRP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OAM : </a:t>
            </a: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IEEE 802.1ag (CFM)*, BNM&amp;CSF*, G.8013/Y.1731 – Performance Monitoring*, IEEE 802.3ah-Link OAM*, LLDP* 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QoS (8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CoS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– Ingress Policing – Scheduling - Queue congestion management) &amp; Two-Level Egress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HQoS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*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Advanced Packet Synchronization :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SyncE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, 1588-2008 TC*&amp;T-BC* Class B, ITU-T G.8275.1</a:t>
            </a: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Support of transport of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CPRI*, </a:t>
            </a:r>
            <a:r>
              <a:rPr lang="en-US" sz="1400" b="1" dirty="0" err="1">
                <a:solidFill>
                  <a:srgbClr val="000000"/>
                </a:solidFill>
                <a:latin typeface="Arial"/>
              </a:rPr>
              <a:t>eCPRI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  <a:p>
            <a:pPr marL="0" lvl="1" indent="-342797" defTabSz="914126">
              <a:lnSpc>
                <a:spcPct val="150000"/>
              </a:lnSpc>
              <a:spcBef>
                <a:spcPct val="50000"/>
              </a:spcBef>
              <a:buClr>
                <a:srgbClr val="C5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Integrated Radio Link Monitoring Tool*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211FD2C-6B6E-DD46-3506-1583138A8792}"/>
              </a:ext>
            </a:extLst>
          </p:cNvPr>
          <p:cNvGrpSpPr/>
          <p:nvPr/>
        </p:nvGrpSpPr>
        <p:grpSpPr>
          <a:xfrm>
            <a:off x="10234885" y="1201383"/>
            <a:ext cx="1727742" cy="2087688"/>
            <a:chOff x="7845425" y="1207325"/>
            <a:chExt cx="2403521" cy="2599566"/>
          </a:xfrm>
        </p:grpSpPr>
        <p:sp>
          <p:nvSpPr>
            <p:cNvPr id="5" name="AutoShape 6">
              <a:extLst>
                <a:ext uri="{FF2B5EF4-FFF2-40B4-BE49-F238E27FC236}">
                  <a16:creationId xmlns:a16="http://schemas.microsoft.com/office/drawing/2014/main" id="{9B7A3091-D047-74ED-1ECB-65B5F1065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5425" y="1207325"/>
              <a:ext cx="2403521" cy="2599566"/>
            </a:xfrm>
            <a:prstGeom prst="roundRect">
              <a:avLst>
                <a:gd name="adj" fmla="val 16667"/>
              </a:avLst>
            </a:prstGeom>
            <a:noFill/>
            <a:ln w="28575">
              <a:solidFill>
                <a:srgbClr val="9900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914126">
                <a:defRPr/>
              </a:pPr>
              <a:endParaRPr lang="el-GR" sz="14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9EE42D6-26AB-E0D4-8984-368483AA6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0778" y="3082422"/>
              <a:ext cx="2155124" cy="367747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4885F07-49E3-1373-A2D4-FBA06999C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774" y="1298951"/>
              <a:ext cx="1580941" cy="178347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2CA5A02-9D68-44C8-DDF9-15804F164414}"/>
              </a:ext>
            </a:extLst>
          </p:cNvPr>
          <p:cNvSpPr txBox="1"/>
          <p:nvPr/>
        </p:nvSpPr>
        <p:spPr>
          <a:xfrm>
            <a:off x="11018608" y="6504798"/>
            <a:ext cx="1196479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*Licensed</a:t>
            </a:r>
            <a:endParaRPr lang="el-GR" sz="14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64A734-AD15-A38B-B01E-BEE0578649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99388" y="4327747"/>
            <a:ext cx="1857196" cy="215360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CC73E34-5ACE-981A-1389-3EF1081FA42F}"/>
              </a:ext>
            </a:extLst>
          </p:cNvPr>
          <p:cNvSpPr/>
          <p:nvPr/>
        </p:nvSpPr>
        <p:spPr bwMode="auto">
          <a:xfrm>
            <a:off x="336860" y="3500989"/>
            <a:ext cx="5543172" cy="503925"/>
          </a:xfrm>
          <a:prstGeom prst="ellipse">
            <a:avLst/>
          </a:prstGeom>
          <a:noFill/>
          <a:ln w="666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126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1600">
              <a:solidFill>
                <a:srgbClr val="696A6C"/>
              </a:solidFill>
              <a:latin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1D9D15-7A23-6920-BD83-B5B5797798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78158" y="3289071"/>
            <a:ext cx="2084470" cy="81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8942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DAA13A-9169-3FBF-6884-2E385C15E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2920" y="970887"/>
            <a:ext cx="4202139" cy="5875395"/>
          </a:xfrm>
          <a:prstGeom prst="rect">
            <a:avLst/>
          </a:prstGeom>
        </p:spPr>
      </p:pic>
      <p:sp>
        <p:nvSpPr>
          <p:cNvPr id="3" name="Arrow: Curved Right 2">
            <a:extLst>
              <a:ext uri="{FF2B5EF4-FFF2-40B4-BE49-F238E27FC236}">
                <a16:creationId xmlns:a16="http://schemas.microsoft.com/office/drawing/2014/main" id="{B8CBC9A5-4534-C781-71D9-9844E430A9A6}"/>
              </a:ext>
            </a:extLst>
          </p:cNvPr>
          <p:cNvSpPr/>
          <p:nvPr/>
        </p:nvSpPr>
        <p:spPr bwMode="auto">
          <a:xfrm>
            <a:off x="9191538" y="3069054"/>
            <a:ext cx="731330" cy="1215835"/>
          </a:xfrm>
          <a:prstGeom prst="curvedRight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126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1600">
              <a:solidFill>
                <a:srgbClr val="696A6C"/>
              </a:solidFill>
              <a:latin typeface="Arial" charset="0"/>
            </a:endParaRPr>
          </a:p>
        </p:txBody>
      </p:sp>
      <p:sp>
        <p:nvSpPr>
          <p:cNvPr id="4" name="Arrow: Curved Right 3">
            <a:extLst>
              <a:ext uri="{FF2B5EF4-FFF2-40B4-BE49-F238E27FC236}">
                <a16:creationId xmlns:a16="http://schemas.microsoft.com/office/drawing/2014/main" id="{D298AAC5-C149-945C-F29B-44B3A9C3F855}"/>
              </a:ext>
            </a:extLst>
          </p:cNvPr>
          <p:cNvSpPr/>
          <p:nvPr/>
        </p:nvSpPr>
        <p:spPr bwMode="auto">
          <a:xfrm>
            <a:off x="8368088" y="2637118"/>
            <a:ext cx="751460" cy="1647771"/>
          </a:xfrm>
          <a:prstGeom prst="curvedRightArrow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126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1600">
              <a:solidFill>
                <a:srgbClr val="696A6C"/>
              </a:solidFill>
              <a:latin typeface="Arial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61C53C-7ECA-91F6-6707-15D2A54CF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 flipV="1">
            <a:off x="9570431" y="2637118"/>
            <a:ext cx="751459" cy="1647771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C1135A1F-6377-8CDA-DB9D-07B0F4CC72C9}"/>
              </a:ext>
            </a:extLst>
          </p:cNvPr>
          <p:cNvSpPr txBox="1">
            <a:spLocks/>
          </p:cNvSpPr>
          <p:nvPr/>
        </p:nvSpPr>
        <p:spPr bwMode="auto">
          <a:xfrm>
            <a:off x="552828" y="107511"/>
            <a:ext cx="7967133" cy="86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C3C3C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C3C3C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C3C3C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3C3C3C"/>
                </a:solidFill>
                <a:latin typeface="Arial" charset="0"/>
              </a:defRPr>
            </a:lvl5pPr>
            <a:lvl6pPr marL="609722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696A6C"/>
                </a:solidFill>
                <a:latin typeface="Arial" charset="0"/>
              </a:defRPr>
            </a:lvl6pPr>
            <a:lvl7pPr marL="1219444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696A6C"/>
                </a:solidFill>
                <a:latin typeface="Arial" charset="0"/>
              </a:defRPr>
            </a:lvl7pPr>
            <a:lvl8pPr marL="182916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696A6C"/>
                </a:solidFill>
                <a:latin typeface="Arial" charset="0"/>
              </a:defRPr>
            </a:lvl8pPr>
            <a:lvl9pPr marL="2438888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696A6C"/>
                </a:solidFill>
                <a:latin typeface="Arial" charset="0"/>
              </a:defRPr>
            </a:lvl9pPr>
          </a:lstStyle>
          <a:p>
            <a:pPr defTabSz="914126">
              <a:defRPr/>
            </a:pPr>
            <a:r>
              <a:rPr lang="en-US" sz="1999" kern="0" dirty="0">
                <a:solidFill>
                  <a:srgbClr val="FFFFFF"/>
                </a:solidFill>
                <a:latin typeface="Arial"/>
              </a:rPr>
              <a:t>Dual Band solution with 3</a:t>
            </a:r>
            <a:r>
              <a:rPr lang="en-US" sz="1999" kern="0" baseline="30000" dirty="0">
                <a:solidFill>
                  <a:srgbClr val="FFFFFF"/>
                </a:solidFill>
                <a:latin typeface="Arial"/>
              </a:rPr>
              <a:t>rd</a:t>
            </a:r>
            <a:r>
              <a:rPr lang="en-US" sz="1999" kern="0" dirty="0">
                <a:solidFill>
                  <a:srgbClr val="FFFFFF"/>
                </a:solidFill>
                <a:latin typeface="Arial"/>
              </a:rPr>
              <a:t> party MW</a:t>
            </a:r>
            <a:endParaRPr lang="el-GR" sz="1999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573C11-CBAE-DC1B-ED0F-C9E96A622B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64" y="2724259"/>
            <a:ext cx="3187974" cy="24056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227725-84FE-2B71-6954-A5095C5864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2360" y="2637118"/>
            <a:ext cx="3347560" cy="25219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57D1D21-C4B8-D73C-D5A4-3593E13A36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6718" y="2137334"/>
            <a:ext cx="1365266" cy="4997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8A1CBD-DF48-F203-5C8C-4AC5F0ECD3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4885" y="2110016"/>
            <a:ext cx="2267319" cy="69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5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33ADEAE5-B080-4DEC-819A-00E41A93F8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9FB580A-BA0E-4D5E-90F4-C42767A783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NTIA Releases Requirements for $42.5B of BEAD Funding: Here's What It Says  About Digital Equity - National Digital Inclusion Alliance">
            <a:extLst>
              <a:ext uri="{FF2B5EF4-FFF2-40B4-BE49-F238E27FC236}">
                <a16:creationId xmlns:a16="http://schemas.microsoft.com/office/drawing/2014/main" id="{83D4CF79-CF69-DD93-E609-0AC5D85D1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39" r="21730"/>
          <a:stretch/>
        </p:blipFill>
        <p:spPr bwMode="auto">
          <a:xfrm>
            <a:off x="10544667" y="4302824"/>
            <a:ext cx="1344025" cy="133263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4A68455-C963-073C-4EF7-72A417E6C5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"/>
            <a:ext cx="12192000" cy="415734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5815DE-FB3A-7B91-D64E-F691A337F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878F3-CD42-4FA4-B835-F0690F02FF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DEBDE4-31F2-0E5C-323F-A826F94603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7333" y="5213898"/>
            <a:ext cx="8573243" cy="10059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719614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D1A4588A-55D5-49B8-BE41-54ACDCFF2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8E67F9B-A60A-A8FE-43EF-CC90A5AFFC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8132" r="31600" b="-1"/>
          <a:stretch/>
        </p:blipFill>
        <p:spPr>
          <a:xfrm>
            <a:off x="20" y="10"/>
            <a:ext cx="12191980" cy="4465973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97E7EA2-EDCD-47E9-81BC-415C606D1B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119552"/>
            <a:ext cx="9382538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F9942A-DA91-8665-3E45-F238C2A56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928" y="4203278"/>
            <a:ext cx="8557193" cy="53606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2800" b="1">
                <a:solidFill>
                  <a:schemeClr val="bg1"/>
                </a:solidFill>
              </a:rPr>
              <a:t>Winncom Grant Writing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7861B1-01E3-DDAE-928E-9C40AAD149F4}"/>
              </a:ext>
            </a:extLst>
          </p:cNvPr>
          <p:cNvSpPr txBox="1"/>
          <p:nvPr/>
        </p:nvSpPr>
        <p:spPr>
          <a:xfrm>
            <a:off x="0" y="4998040"/>
            <a:ext cx="5306334" cy="19016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Document verification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Application writing</a:t>
            </a:r>
            <a:endParaRPr kumimoji="0" lang="en-US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Ensuring document compliance</a:t>
            </a:r>
            <a:endParaRPr kumimoji="0" lang="en-US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Use-case analysis and technology alignment</a:t>
            </a:r>
            <a:endParaRPr kumimoji="0" lang="en-US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3C194B-00AD-19B2-7729-6566BADDB7BA}"/>
              </a:ext>
            </a:extLst>
          </p:cNvPr>
          <p:cNvSpPr txBox="1"/>
          <p:nvPr/>
        </p:nvSpPr>
        <p:spPr>
          <a:xfrm>
            <a:off x="5785735" y="4998040"/>
            <a:ext cx="5306334" cy="19016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e-award educational support</a:t>
            </a:r>
            <a:endParaRPr kumimoji="0" lang="en-US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Post-award compliance support</a:t>
            </a:r>
            <a:endParaRPr kumimoji="0" lang="en-US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voice Reimbursement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Compliance Documentation Reporting</a:t>
            </a:r>
            <a:endParaRPr kumimoji="0" lang="en-US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0265CB-2BDE-3F3E-A94E-5DE31C42F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0008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C06439-3E55-209A-DBF7-545487F583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2191575"/>
            <a:ext cx="3201366" cy="1735244"/>
          </a:xfrm>
        </p:spPr>
        <p:txBody>
          <a:bodyPr anchor="b">
            <a:normAutofit/>
          </a:bodyPr>
          <a:lstStyle/>
          <a:p>
            <a:pPr algn="ctr"/>
            <a:r>
              <a:rPr lang="en-US" sz="4000" b="1" dirty="0">
                <a:solidFill>
                  <a:srgbClr val="FFFFFF"/>
                </a:solidFill>
              </a:rPr>
              <a:t>Timeline Estima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A8121-FD35-921C-95DA-66BFBA6C4C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1727" y="649480"/>
            <a:ext cx="3025303" cy="5546047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1700" b="1"/>
              <a:t>Overall Project Deadlines:</a:t>
            </a:r>
          </a:p>
          <a:p>
            <a:r>
              <a:rPr lang="en-US" sz="1700"/>
              <a:t>Standard minimal time: 6-8 weeks.</a:t>
            </a:r>
          </a:p>
          <a:p>
            <a:r>
              <a:rPr lang="en-US" sz="1700"/>
              <a:t>Expedited minimal time: 30-days</a:t>
            </a:r>
          </a:p>
          <a:p>
            <a:endParaRPr lang="en-US" sz="1700"/>
          </a:p>
          <a:p>
            <a:pPr marL="0" indent="0">
              <a:buNone/>
            </a:pPr>
            <a:r>
              <a:rPr lang="en-US" sz="1700" b="1"/>
              <a:t>Estimated Project Timelines:</a:t>
            </a:r>
          </a:p>
          <a:p>
            <a:r>
              <a:rPr lang="en-US" sz="1700"/>
              <a:t>Onboarding: 3-5 business days</a:t>
            </a:r>
          </a:p>
          <a:p>
            <a:r>
              <a:rPr lang="en-US" sz="1700"/>
              <a:t>Processing application materials: 2-6 weeks</a:t>
            </a:r>
          </a:p>
          <a:p>
            <a:r>
              <a:rPr lang="en-US" sz="1700"/>
              <a:t>Quality control: 1-2 weeks</a:t>
            </a:r>
          </a:p>
          <a:p>
            <a:r>
              <a:rPr lang="en-US" sz="1700"/>
              <a:t>Application submission: 1-3 days</a:t>
            </a:r>
          </a:p>
          <a:p>
            <a:r>
              <a:rPr lang="en-US" sz="1700"/>
              <a:t>RFI support: 2-4 weeks (Optional Service)</a:t>
            </a:r>
          </a:p>
          <a:p>
            <a:r>
              <a:rPr lang="en-US" sz="1700"/>
              <a:t>Post-award compliance services: From 2-3 weeks up to several years (Optional Service)</a:t>
            </a:r>
          </a:p>
          <a:p>
            <a:endParaRPr lang="en-US" sz="1700"/>
          </a:p>
          <a:p>
            <a:pPr marL="0" indent="0">
              <a:buNone/>
            </a:pPr>
            <a:endParaRPr lang="en-US" sz="17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C4572A-B934-F121-9208-A9F6D0114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5812" y="473654"/>
            <a:ext cx="3583155" cy="59225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5BF4A1-1D3C-EDFB-1D63-FB0727472E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991" y="138897"/>
            <a:ext cx="3201600" cy="123270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CAA424-B4A7-6C05-DDF3-790895A63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18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7BDFED6-6E33-4606-AFE2-886ADB1C0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heckmate move on chessboard">
            <a:extLst>
              <a:ext uri="{FF2B5EF4-FFF2-40B4-BE49-F238E27FC236}">
                <a16:creationId xmlns:a16="http://schemas.microsoft.com/office/drawing/2014/main" id="{1A4344DE-221D-2B81-D3BC-31C7716AEB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t="25097" r="-1" b="2481"/>
          <a:stretch/>
        </p:blipFill>
        <p:spPr>
          <a:xfrm>
            <a:off x="4547937" y="-5"/>
            <a:ext cx="7644062" cy="368140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90DEF05-784E-4B61-89E4-04C4ECF4E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6000">
                <a:schemeClr val="tx1">
                  <a:lumMod val="95000"/>
                  <a:lumOff val="5000"/>
                </a:schemeClr>
              </a:gs>
              <a:gs pos="81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F15DD8-2F3C-530F-58C0-86789F201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3811" y="4027324"/>
            <a:ext cx="4264378" cy="227980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5000" b="1" kern="1200" dirty="0">
                <a:solidFill>
                  <a:schemeClr val="bg1"/>
                </a:solidFill>
              </a:rPr>
              <a:t>OFFENSIVE </a:t>
            </a:r>
            <a:br>
              <a:rPr lang="en-US" sz="5000" b="1" dirty="0">
                <a:solidFill>
                  <a:schemeClr val="bg1"/>
                </a:solidFill>
              </a:rPr>
            </a:br>
            <a:r>
              <a:rPr lang="en-US" sz="5000" b="1" kern="1200" dirty="0">
                <a:solidFill>
                  <a:schemeClr val="bg1"/>
                </a:solidFill>
              </a:rPr>
              <a:t>- VS -</a:t>
            </a:r>
            <a:br>
              <a:rPr lang="en-US" sz="5000" b="1" kern="1200" dirty="0">
                <a:solidFill>
                  <a:schemeClr val="bg1"/>
                </a:solidFill>
              </a:rPr>
            </a:br>
            <a:r>
              <a:rPr lang="en-US" sz="5000" b="1" kern="1200" dirty="0">
                <a:solidFill>
                  <a:schemeClr val="bg1"/>
                </a:solidFill>
              </a:rPr>
              <a:t>DEFENSIV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41BAEC7-F7B0-4224-8B18-8F74B7D87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3681408"/>
            <a:ext cx="1135379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EEF1A9-B54B-E21B-B7A4-B7A84E92E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35878F3-CD42-4FA4-B835-F0690F02FFD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3234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D17619C-4A93-DD16-6AF2-FFE3059768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31542" y="191681"/>
            <a:ext cx="7528150" cy="647421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AB6854-A838-0C85-4BB7-968D0E815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3CFFA4C-0D1C-425F-BB04-E50ADD4A39B0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6786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F964AEB-6352-4455-1B24-558318F39BF7}"/>
              </a:ext>
            </a:extLst>
          </p:cNvPr>
          <p:cNvSpPr txBox="1"/>
          <p:nvPr/>
        </p:nvSpPr>
        <p:spPr>
          <a:xfrm>
            <a:off x="3139380" y="1939726"/>
            <a:ext cx="49987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Winncom Professional Engineering Service</a:t>
            </a:r>
          </a:p>
        </p:txBody>
      </p:sp>
      <p:pic>
        <p:nvPicPr>
          <p:cNvPr id="1028" name="Picture 4" descr="Protecting Your Home Against Lightning">
            <a:extLst>
              <a:ext uri="{FF2B5EF4-FFF2-40B4-BE49-F238E27FC236}">
                <a16:creationId xmlns:a16="http://schemas.microsoft.com/office/drawing/2014/main" id="{7F193133-75AA-1EEE-5721-C32200BCD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174"/>
            <a:ext cx="12174021" cy="314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46DF13D-DA92-66A5-E10D-C7EDFE40D553}"/>
              </a:ext>
            </a:extLst>
          </p:cNvPr>
          <p:cNvSpPr txBox="1"/>
          <p:nvPr/>
        </p:nvSpPr>
        <p:spPr>
          <a:xfrm>
            <a:off x="1899139" y="275049"/>
            <a:ext cx="83937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WINNCOM PROFESSIONAL ENGINEERING SERVIC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3C97F-0905-489C-A8D7-666362279E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4551" y="3141785"/>
            <a:ext cx="2827502" cy="3561918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489BD2F-1954-10B7-3E5E-6E8217263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21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CFD6626-4779-B84A-8D37-D2426C44CA59}"/>
              </a:ext>
            </a:extLst>
          </p:cNvPr>
          <p:cNvGrpSpPr/>
          <p:nvPr/>
        </p:nvGrpSpPr>
        <p:grpSpPr>
          <a:xfrm>
            <a:off x="616513" y="3067332"/>
            <a:ext cx="7339330" cy="3515620"/>
            <a:chOff x="1209561" y="1050074"/>
            <a:chExt cx="10131437" cy="525039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B3C9E0-7A8D-37C6-8999-54B8803A748C}"/>
                </a:ext>
              </a:extLst>
            </p:cNvPr>
            <p:cNvSpPr txBox="1"/>
            <p:nvPr/>
          </p:nvSpPr>
          <p:spPr>
            <a:xfrm>
              <a:off x="5475493" y="3715085"/>
              <a:ext cx="1399313" cy="294050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latin typeface="Montserrat" panose="00000500000000000000" pitchFamily="50" charset="0"/>
                  <a:cs typeface="Calibri" panose="020F0502020204030204" pitchFamily="34" charset="0"/>
                </a:rPr>
                <a:t>PORTFOLIO OF</a:t>
              </a:r>
              <a:endParaRPr kumimoji="0" lang="en-I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BF9C983-218A-224B-4FFF-1C8D5C9DC941}"/>
                </a:ext>
              </a:extLst>
            </p:cNvPr>
            <p:cNvSpPr/>
            <p:nvPr/>
          </p:nvSpPr>
          <p:spPr>
            <a:xfrm>
              <a:off x="5627881" y="4119433"/>
              <a:ext cx="1139143" cy="195578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Down">
                <a:avLst>
                  <a:gd name="adj" fmla="val 20475080"/>
                </a:avLst>
              </a:prstTxWarp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ontserrat" panose="00000500000000000000" pitchFamily="50" charset="0"/>
                  <a:cs typeface="Calibri" panose="020F0502020204030204" pitchFamily="34" charset="0"/>
                </a:rPr>
                <a:t>SERVICE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5ACC29C-7B9B-E91A-154D-EE67B748465A}"/>
                </a:ext>
              </a:extLst>
            </p:cNvPr>
            <p:cNvSpPr/>
            <p:nvPr/>
          </p:nvSpPr>
          <p:spPr>
            <a:xfrm>
              <a:off x="5502097" y="2920571"/>
              <a:ext cx="1275320" cy="9515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AFAB05-4253-51A9-B8B6-648865C59E7C}"/>
                </a:ext>
              </a:extLst>
            </p:cNvPr>
            <p:cNvSpPr/>
            <p:nvPr/>
          </p:nvSpPr>
          <p:spPr>
            <a:xfrm>
              <a:off x="4528297" y="2569381"/>
              <a:ext cx="3314131" cy="3232661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1B076A3-FB9F-917C-C97C-99420144AB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999" y="3139892"/>
              <a:ext cx="2080169" cy="2030184"/>
            </a:xfrm>
            <a:custGeom>
              <a:avLst/>
              <a:gdLst>
                <a:gd name="T0" fmla="*/ 720 w 1761"/>
                <a:gd name="T1" fmla="*/ 52 h 1762"/>
                <a:gd name="T2" fmla="*/ 500 w 1761"/>
                <a:gd name="T3" fmla="*/ 128 h 1762"/>
                <a:gd name="T4" fmla="*/ 312 w 1761"/>
                <a:gd name="T5" fmla="*/ 259 h 1762"/>
                <a:gd name="T6" fmla="*/ 165 w 1761"/>
                <a:gd name="T7" fmla="*/ 434 h 1762"/>
                <a:gd name="T8" fmla="*/ 71 w 1761"/>
                <a:gd name="T9" fmla="*/ 645 h 1762"/>
                <a:gd name="T10" fmla="*/ 37 w 1761"/>
                <a:gd name="T11" fmla="*/ 881 h 1762"/>
                <a:gd name="T12" fmla="*/ 71 w 1761"/>
                <a:gd name="T13" fmla="*/ 1118 h 1762"/>
                <a:gd name="T14" fmla="*/ 165 w 1761"/>
                <a:gd name="T15" fmla="*/ 1328 h 1762"/>
                <a:gd name="T16" fmla="*/ 312 w 1761"/>
                <a:gd name="T17" fmla="*/ 1504 h 1762"/>
                <a:gd name="T18" fmla="*/ 500 w 1761"/>
                <a:gd name="T19" fmla="*/ 1635 h 1762"/>
                <a:gd name="T20" fmla="*/ 720 w 1761"/>
                <a:gd name="T21" fmla="*/ 1709 h 1762"/>
                <a:gd name="T22" fmla="*/ 962 w 1761"/>
                <a:gd name="T23" fmla="*/ 1721 h 1762"/>
                <a:gd name="T24" fmla="*/ 1191 w 1761"/>
                <a:gd name="T25" fmla="*/ 1666 h 1762"/>
                <a:gd name="T26" fmla="*/ 1391 w 1761"/>
                <a:gd name="T27" fmla="*/ 1552 h 1762"/>
                <a:gd name="T28" fmla="*/ 1552 w 1761"/>
                <a:gd name="T29" fmla="*/ 1391 h 1762"/>
                <a:gd name="T30" fmla="*/ 1665 w 1761"/>
                <a:gd name="T31" fmla="*/ 1191 h 1762"/>
                <a:gd name="T32" fmla="*/ 1720 w 1761"/>
                <a:gd name="T33" fmla="*/ 962 h 1762"/>
                <a:gd name="T34" fmla="*/ 1709 w 1761"/>
                <a:gd name="T35" fmla="*/ 721 h 1762"/>
                <a:gd name="T36" fmla="*/ 1633 w 1761"/>
                <a:gd name="T37" fmla="*/ 501 h 1762"/>
                <a:gd name="T38" fmla="*/ 1502 w 1761"/>
                <a:gd name="T39" fmla="*/ 312 h 1762"/>
                <a:gd name="T40" fmla="*/ 1327 w 1761"/>
                <a:gd name="T41" fmla="*/ 166 h 1762"/>
                <a:gd name="T42" fmla="*/ 1116 w 1761"/>
                <a:gd name="T43" fmla="*/ 72 h 1762"/>
                <a:gd name="T44" fmla="*/ 881 w 1761"/>
                <a:gd name="T45" fmla="*/ 38 h 1762"/>
                <a:gd name="T46" fmla="*/ 1047 w 1761"/>
                <a:gd name="T47" fmla="*/ 17 h 1762"/>
                <a:gd name="T48" fmla="*/ 1277 w 1761"/>
                <a:gd name="T49" fmla="*/ 95 h 1762"/>
                <a:gd name="T50" fmla="*/ 1474 w 1761"/>
                <a:gd name="T51" fmla="*/ 231 h 1762"/>
                <a:gd name="T52" fmla="*/ 1627 w 1761"/>
                <a:gd name="T53" fmla="*/ 415 h 1762"/>
                <a:gd name="T54" fmla="*/ 1726 w 1761"/>
                <a:gd name="T55" fmla="*/ 635 h 1762"/>
                <a:gd name="T56" fmla="*/ 1761 w 1761"/>
                <a:gd name="T57" fmla="*/ 881 h 1762"/>
                <a:gd name="T58" fmla="*/ 1726 w 1761"/>
                <a:gd name="T59" fmla="*/ 1128 h 1762"/>
                <a:gd name="T60" fmla="*/ 1627 w 1761"/>
                <a:gd name="T61" fmla="*/ 1348 h 1762"/>
                <a:gd name="T62" fmla="*/ 1474 w 1761"/>
                <a:gd name="T63" fmla="*/ 1531 h 1762"/>
                <a:gd name="T64" fmla="*/ 1277 w 1761"/>
                <a:gd name="T65" fmla="*/ 1667 h 1762"/>
                <a:gd name="T66" fmla="*/ 1047 w 1761"/>
                <a:gd name="T67" fmla="*/ 1746 h 1762"/>
                <a:gd name="T68" fmla="*/ 796 w 1761"/>
                <a:gd name="T69" fmla="*/ 1758 h 1762"/>
                <a:gd name="T70" fmla="*/ 556 w 1761"/>
                <a:gd name="T71" fmla="*/ 1700 h 1762"/>
                <a:gd name="T72" fmla="*/ 348 w 1761"/>
                <a:gd name="T73" fmla="*/ 1582 h 1762"/>
                <a:gd name="T74" fmla="*/ 180 w 1761"/>
                <a:gd name="T75" fmla="*/ 1413 h 1762"/>
                <a:gd name="T76" fmla="*/ 62 w 1761"/>
                <a:gd name="T77" fmla="*/ 1205 h 1762"/>
                <a:gd name="T78" fmla="*/ 4 w 1761"/>
                <a:gd name="T79" fmla="*/ 966 h 1762"/>
                <a:gd name="T80" fmla="*/ 16 w 1761"/>
                <a:gd name="T81" fmla="*/ 714 h 1762"/>
                <a:gd name="T82" fmla="*/ 95 w 1761"/>
                <a:gd name="T83" fmla="*/ 484 h 1762"/>
                <a:gd name="T84" fmla="*/ 231 w 1761"/>
                <a:gd name="T85" fmla="*/ 288 h 1762"/>
                <a:gd name="T86" fmla="*/ 414 w 1761"/>
                <a:gd name="T87" fmla="*/ 134 h 1762"/>
                <a:gd name="T88" fmla="*/ 634 w 1761"/>
                <a:gd name="T89" fmla="*/ 35 h 1762"/>
                <a:gd name="T90" fmla="*/ 881 w 1761"/>
                <a:gd name="T91" fmla="*/ 0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61" h="1762">
                  <a:moveTo>
                    <a:pt x="881" y="38"/>
                  </a:moveTo>
                  <a:lnTo>
                    <a:pt x="800" y="41"/>
                  </a:lnTo>
                  <a:lnTo>
                    <a:pt x="720" y="52"/>
                  </a:lnTo>
                  <a:lnTo>
                    <a:pt x="644" y="72"/>
                  </a:lnTo>
                  <a:lnTo>
                    <a:pt x="571" y="96"/>
                  </a:lnTo>
                  <a:lnTo>
                    <a:pt x="500" y="128"/>
                  </a:lnTo>
                  <a:lnTo>
                    <a:pt x="433" y="166"/>
                  </a:lnTo>
                  <a:lnTo>
                    <a:pt x="371" y="209"/>
                  </a:lnTo>
                  <a:lnTo>
                    <a:pt x="312" y="259"/>
                  </a:lnTo>
                  <a:lnTo>
                    <a:pt x="258" y="312"/>
                  </a:lnTo>
                  <a:lnTo>
                    <a:pt x="210" y="371"/>
                  </a:lnTo>
                  <a:lnTo>
                    <a:pt x="165" y="434"/>
                  </a:lnTo>
                  <a:lnTo>
                    <a:pt x="129" y="501"/>
                  </a:lnTo>
                  <a:lnTo>
                    <a:pt x="96" y="570"/>
                  </a:lnTo>
                  <a:lnTo>
                    <a:pt x="71" y="645"/>
                  </a:lnTo>
                  <a:lnTo>
                    <a:pt x="53" y="721"/>
                  </a:lnTo>
                  <a:lnTo>
                    <a:pt x="41" y="799"/>
                  </a:lnTo>
                  <a:lnTo>
                    <a:pt x="37" y="881"/>
                  </a:lnTo>
                  <a:lnTo>
                    <a:pt x="41" y="962"/>
                  </a:lnTo>
                  <a:lnTo>
                    <a:pt x="53" y="1042"/>
                  </a:lnTo>
                  <a:lnTo>
                    <a:pt x="71" y="1118"/>
                  </a:lnTo>
                  <a:lnTo>
                    <a:pt x="96" y="1191"/>
                  </a:lnTo>
                  <a:lnTo>
                    <a:pt x="129" y="1262"/>
                  </a:lnTo>
                  <a:lnTo>
                    <a:pt x="165" y="1328"/>
                  </a:lnTo>
                  <a:lnTo>
                    <a:pt x="210" y="1391"/>
                  </a:lnTo>
                  <a:lnTo>
                    <a:pt x="258" y="1450"/>
                  </a:lnTo>
                  <a:lnTo>
                    <a:pt x="312" y="1504"/>
                  </a:lnTo>
                  <a:lnTo>
                    <a:pt x="371" y="1552"/>
                  </a:lnTo>
                  <a:lnTo>
                    <a:pt x="433" y="1597"/>
                  </a:lnTo>
                  <a:lnTo>
                    <a:pt x="500" y="1635"/>
                  </a:lnTo>
                  <a:lnTo>
                    <a:pt x="571" y="1666"/>
                  </a:lnTo>
                  <a:lnTo>
                    <a:pt x="644" y="1691"/>
                  </a:lnTo>
                  <a:lnTo>
                    <a:pt x="720" y="1709"/>
                  </a:lnTo>
                  <a:lnTo>
                    <a:pt x="800" y="1721"/>
                  </a:lnTo>
                  <a:lnTo>
                    <a:pt x="881" y="1725"/>
                  </a:lnTo>
                  <a:lnTo>
                    <a:pt x="962" y="1721"/>
                  </a:lnTo>
                  <a:lnTo>
                    <a:pt x="1041" y="1709"/>
                  </a:lnTo>
                  <a:lnTo>
                    <a:pt x="1116" y="1691"/>
                  </a:lnTo>
                  <a:lnTo>
                    <a:pt x="1191" y="1666"/>
                  </a:lnTo>
                  <a:lnTo>
                    <a:pt x="1260" y="1635"/>
                  </a:lnTo>
                  <a:lnTo>
                    <a:pt x="1327" y="1597"/>
                  </a:lnTo>
                  <a:lnTo>
                    <a:pt x="1391" y="1552"/>
                  </a:lnTo>
                  <a:lnTo>
                    <a:pt x="1449" y="1504"/>
                  </a:lnTo>
                  <a:lnTo>
                    <a:pt x="1502" y="1450"/>
                  </a:lnTo>
                  <a:lnTo>
                    <a:pt x="1552" y="1391"/>
                  </a:lnTo>
                  <a:lnTo>
                    <a:pt x="1595" y="1328"/>
                  </a:lnTo>
                  <a:lnTo>
                    <a:pt x="1633" y="1262"/>
                  </a:lnTo>
                  <a:lnTo>
                    <a:pt x="1665" y="1191"/>
                  </a:lnTo>
                  <a:lnTo>
                    <a:pt x="1691" y="1118"/>
                  </a:lnTo>
                  <a:lnTo>
                    <a:pt x="1709" y="1042"/>
                  </a:lnTo>
                  <a:lnTo>
                    <a:pt x="1720" y="962"/>
                  </a:lnTo>
                  <a:lnTo>
                    <a:pt x="1724" y="881"/>
                  </a:lnTo>
                  <a:lnTo>
                    <a:pt x="1720" y="799"/>
                  </a:lnTo>
                  <a:lnTo>
                    <a:pt x="1709" y="721"/>
                  </a:lnTo>
                  <a:lnTo>
                    <a:pt x="1691" y="645"/>
                  </a:lnTo>
                  <a:lnTo>
                    <a:pt x="1665" y="570"/>
                  </a:lnTo>
                  <a:lnTo>
                    <a:pt x="1633" y="501"/>
                  </a:lnTo>
                  <a:lnTo>
                    <a:pt x="1595" y="434"/>
                  </a:lnTo>
                  <a:lnTo>
                    <a:pt x="1552" y="371"/>
                  </a:lnTo>
                  <a:lnTo>
                    <a:pt x="1502" y="312"/>
                  </a:lnTo>
                  <a:lnTo>
                    <a:pt x="1449" y="259"/>
                  </a:lnTo>
                  <a:lnTo>
                    <a:pt x="1391" y="209"/>
                  </a:lnTo>
                  <a:lnTo>
                    <a:pt x="1327" y="166"/>
                  </a:lnTo>
                  <a:lnTo>
                    <a:pt x="1260" y="128"/>
                  </a:lnTo>
                  <a:lnTo>
                    <a:pt x="1191" y="96"/>
                  </a:lnTo>
                  <a:lnTo>
                    <a:pt x="1116" y="72"/>
                  </a:lnTo>
                  <a:lnTo>
                    <a:pt x="1041" y="52"/>
                  </a:lnTo>
                  <a:lnTo>
                    <a:pt x="962" y="41"/>
                  </a:lnTo>
                  <a:lnTo>
                    <a:pt x="881" y="38"/>
                  </a:lnTo>
                  <a:close/>
                  <a:moveTo>
                    <a:pt x="881" y="0"/>
                  </a:moveTo>
                  <a:lnTo>
                    <a:pt x="965" y="4"/>
                  </a:lnTo>
                  <a:lnTo>
                    <a:pt x="1047" y="17"/>
                  </a:lnTo>
                  <a:lnTo>
                    <a:pt x="1127" y="35"/>
                  </a:lnTo>
                  <a:lnTo>
                    <a:pt x="1204" y="61"/>
                  </a:lnTo>
                  <a:lnTo>
                    <a:pt x="1277" y="95"/>
                  </a:lnTo>
                  <a:lnTo>
                    <a:pt x="1348" y="134"/>
                  </a:lnTo>
                  <a:lnTo>
                    <a:pt x="1413" y="180"/>
                  </a:lnTo>
                  <a:lnTo>
                    <a:pt x="1474" y="231"/>
                  </a:lnTo>
                  <a:lnTo>
                    <a:pt x="1530" y="288"/>
                  </a:lnTo>
                  <a:lnTo>
                    <a:pt x="1581" y="348"/>
                  </a:lnTo>
                  <a:lnTo>
                    <a:pt x="1627" y="415"/>
                  </a:lnTo>
                  <a:lnTo>
                    <a:pt x="1666" y="484"/>
                  </a:lnTo>
                  <a:lnTo>
                    <a:pt x="1700" y="557"/>
                  </a:lnTo>
                  <a:lnTo>
                    <a:pt x="1726" y="635"/>
                  </a:lnTo>
                  <a:lnTo>
                    <a:pt x="1746" y="714"/>
                  </a:lnTo>
                  <a:lnTo>
                    <a:pt x="1758" y="797"/>
                  </a:lnTo>
                  <a:lnTo>
                    <a:pt x="1761" y="881"/>
                  </a:lnTo>
                  <a:lnTo>
                    <a:pt x="1758" y="966"/>
                  </a:lnTo>
                  <a:lnTo>
                    <a:pt x="1746" y="1048"/>
                  </a:lnTo>
                  <a:lnTo>
                    <a:pt x="1726" y="1128"/>
                  </a:lnTo>
                  <a:lnTo>
                    <a:pt x="1700" y="1205"/>
                  </a:lnTo>
                  <a:lnTo>
                    <a:pt x="1666" y="1279"/>
                  </a:lnTo>
                  <a:lnTo>
                    <a:pt x="1627" y="1348"/>
                  </a:lnTo>
                  <a:lnTo>
                    <a:pt x="1581" y="1413"/>
                  </a:lnTo>
                  <a:lnTo>
                    <a:pt x="1530" y="1475"/>
                  </a:lnTo>
                  <a:lnTo>
                    <a:pt x="1474" y="1531"/>
                  </a:lnTo>
                  <a:lnTo>
                    <a:pt x="1413" y="1582"/>
                  </a:lnTo>
                  <a:lnTo>
                    <a:pt x="1348" y="1628"/>
                  </a:lnTo>
                  <a:lnTo>
                    <a:pt x="1277" y="1667"/>
                  </a:lnTo>
                  <a:lnTo>
                    <a:pt x="1204" y="1700"/>
                  </a:lnTo>
                  <a:lnTo>
                    <a:pt x="1127" y="1728"/>
                  </a:lnTo>
                  <a:lnTo>
                    <a:pt x="1047" y="1746"/>
                  </a:lnTo>
                  <a:lnTo>
                    <a:pt x="965" y="1758"/>
                  </a:lnTo>
                  <a:lnTo>
                    <a:pt x="881" y="1762"/>
                  </a:lnTo>
                  <a:lnTo>
                    <a:pt x="796" y="1758"/>
                  </a:lnTo>
                  <a:lnTo>
                    <a:pt x="713" y="1746"/>
                  </a:lnTo>
                  <a:lnTo>
                    <a:pt x="634" y="1728"/>
                  </a:lnTo>
                  <a:lnTo>
                    <a:pt x="556" y="1700"/>
                  </a:lnTo>
                  <a:lnTo>
                    <a:pt x="483" y="1667"/>
                  </a:lnTo>
                  <a:lnTo>
                    <a:pt x="414" y="1628"/>
                  </a:lnTo>
                  <a:lnTo>
                    <a:pt x="348" y="1582"/>
                  </a:lnTo>
                  <a:lnTo>
                    <a:pt x="287" y="1531"/>
                  </a:lnTo>
                  <a:lnTo>
                    <a:pt x="231" y="1475"/>
                  </a:lnTo>
                  <a:lnTo>
                    <a:pt x="180" y="1413"/>
                  </a:lnTo>
                  <a:lnTo>
                    <a:pt x="134" y="1348"/>
                  </a:lnTo>
                  <a:lnTo>
                    <a:pt x="95" y="1279"/>
                  </a:lnTo>
                  <a:lnTo>
                    <a:pt x="62" y="1205"/>
                  </a:lnTo>
                  <a:lnTo>
                    <a:pt x="36" y="1128"/>
                  </a:lnTo>
                  <a:lnTo>
                    <a:pt x="16" y="1048"/>
                  </a:lnTo>
                  <a:lnTo>
                    <a:pt x="4" y="966"/>
                  </a:lnTo>
                  <a:lnTo>
                    <a:pt x="0" y="881"/>
                  </a:lnTo>
                  <a:lnTo>
                    <a:pt x="4" y="797"/>
                  </a:lnTo>
                  <a:lnTo>
                    <a:pt x="16" y="714"/>
                  </a:lnTo>
                  <a:lnTo>
                    <a:pt x="36" y="635"/>
                  </a:lnTo>
                  <a:lnTo>
                    <a:pt x="62" y="557"/>
                  </a:lnTo>
                  <a:lnTo>
                    <a:pt x="95" y="484"/>
                  </a:lnTo>
                  <a:lnTo>
                    <a:pt x="134" y="415"/>
                  </a:lnTo>
                  <a:lnTo>
                    <a:pt x="180" y="348"/>
                  </a:lnTo>
                  <a:lnTo>
                    <a:pt x="231" y="288"/>
                  </a:lnTo>
                  <a:lnTo>
                    <a:pt x="287" y="231"/>
                  </a:lnTo>
                  <a:lnTo>
                    <a:pt x="348" y="180"/>
                  </a:lnTo>
                  <a:lnTo>
                    <a:pt x="414" y="134"/>
                  </a:lnTo>
                  <a:lnTo>
                    <a:pt x="483" y="95"/>
                  </a:lnTo>
                  <a:lnTo>
                    <a:pt x="556" y="61"/>
                  </a:lnTo>
                  <a:lnTo>
                    <a:pt x="634" y="35"/>
                  </a:lnTo>
                  <a:lnTo>
                    <a:pt x="713" y="17"/>
                  </a:lnTo>
                  <a:lnTo>
                    <a:pt x="796" y="4"/>
                  </a:lnTo>
                  <a:lnTo>
                    <a:pt x="881" y="0"/>
                  </a:lnTo>
                  <a:close/>
                </a:path>
              </a:pathLst>
            </a:custGeom>
            <a:solidFill>
              <a:sysClr val="window" lastClr="FFFFFF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C7CA212-3346-E538-9DB2-3173CBECB939}"/>
                </a:ext>
              </a:extLst>
            </p:cNvPr>
            <p:cNvGrpSpPr/>
            <p:nvPr/>
          </p:nvGrpSpPr>
          <p:grpSpPr>
            <a:xfrm>
              <a:off x="4447068" y="1050074"/>
              <a:ext cx="3405836" cy="1979286"/>
              <a:chOff x="4493292" y="1232450"/>
              <a:chExt cx="3405836" cy="1979286"/>
            </a:xfrm>
          </p:grpSpPr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AE423BD-DD47-7ECE-F732-0535C806D65E}"/>
                  </a:ext>
                </a:extLst>
              </p:cNvPr>
              <p:cNvSpPr txBox="1"/>
              <p:nvPr/>
            </p:nvSpPr>
            <p:spPr>
              <a:xfrm>
                <a:off x="4493292" y="1232450"/>
                <a:ext cx="3405836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87"/>
                <a:r>
                  <a:rPr lang="en-GB" sz="1100" b="1" dirty="0">
                    <a:latin typeface="Montserrat" panose="00000500000000000000" pitchFamily="50" charset="0"/>
                    <a:cs typeface="Arial" pitchFamily="34" charset="0"/>
                  </a:rPr>
                  <a:t>Network Design </a:t>
                </a:r>
              </a:p>
              <a:p>
                <a:pPr algn="ctr" defTabSz="1218987"/>
                <a:r>
                  <a:rPr lang="en-GB" sz="1100" b="1" dirty="0">
                    <a:latin typeface="Montserrat" panose="00000500000000000000" pitchFamily="50" charset="0"/>
                    <a:cs typeface="Arial" pitchFamily="34" charset="0"/>
                  </a:rPr>
                  <a:t>&amp; </a:t>
                </a:r>
              </a:p>
              <a:p>
                <a:pPr algn="ctr" defTabSz="1218987"/>
                <a:r>
                  <a:rPr lang="en-GB" sz="1100" b="1" dirty="0">
                    <a:latin typeface="Montserrat" panose="00000500000000000000" pitchFamily="50" charset="0"/>
                    <a:cs typeface="Arial" pitchFamily="34" charset="0"/>
                  </a:rPr>
                  <a:t> Optimization</a:t>
                </a:r>
                <a:endParaRPr lang="en-IN" sz="1100" b="1" dirty="0">
                  <a:latin typeface="Montserrat" panose="00000500000000000000" pitchFamily="50" charset="0"/>
                  <a:cs typeface="Arial" pitchFamily="34" charset="0"/>
                </a:endParaRPr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831BC5AB-7200-A85E-09D0-458A868CD0E0}"/>
                  </a:ext>
                </a:extLst>
              </p:cNvPr>
              <p:cNvGrpSpPr/>
              <p:nvPr/>
            </p:nvGrpSpPr>
            <p:grpSpPr>
              <a:xfrm>
                <a:off x="5632758" y="2112533"/>
                <a:ext cx="1126906" cy="1099203"/>
                <a:chOff x="4100370" y="1920374"/>
                <a:chExt cx="1083597" cy="1083596"/>
              </a:xfrm>
            </p:grpSpPr>
            <p:sp>
              <p:nvSpPr>
                <p:cNvPr id="62" name="Freeform 14">
                  <a:extLst>
                    <a:ext uri="{FF2B5EF4-FFF2-40B4-BE49-F238E27FC236}">
                      <a16:creationId xmlns:a16="http://schemas.microsoft.com/office/drawing/2014/main" id="{104E3EFF-BAA0-5D6F-08F5-B28AA17A0E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00370" y="1920374"/>
                  <a:ext cx="1083597" cy="1083596"/>
                </a:xfrm>
                <a:custGeom>
                  <a:avLst/>
                  <a:gdLst>
                    <a:gd name="T0" fmla="*/ 478 w 954"/>
                    <a:gd name="T1" fmla="*/ 0 h 954"/>
                    <a:gd name="T2" fmla="*/ 537 w 954"/>
                    <a:gd name="T3" fmla="*/ 3 h 954"/>
                    <a:gd name="T4" fmla="*/ 596 w 954"/>
                    <a:gd name="T5" fmla="*/ 14 h 954"/>
                    <a:gd name="T6" fmla="*/ 651 w 954"/>
                    <a:gd name="T7" fmla="*/ 31 h 954"/>
                    <a:gd name="T8" fmla="*/ 702 w 954"/>
                    <a:gd name="T9" fmla="*/ 55 h 954"/>
                    <a:gd name="T10" fmla="*/ 750 w 954"/>
                    <a:gd name="T11" fmla="*/ 85 h 954"/>
                    <a:gd name="T12" fmla="*/ 795 w 954"/>
                    <a:gd name="T13" fmla="*/ 120 h 954"/>
                    <a:gd name="T14" fmla="*/ 834 w 954"/>
                    <a:gd name="T15" fmla="*/ 159 h 954"/>
                    <a:gd name="T16" fmla="*/ 869 w 954"/>
                    <a:gd name="T17" fmla="*/ 204 h 954"/>
                    <a:gd name="T18" fmla="*/ 899 w 954"/>
                    <a:gd name="T19" fmla="*/ 252 h 954"/>
                    <a:gd name="T20" fmla="*/ 923 w 954"/>
                    <a:gd name="T21" fmla="*/ 305 h 954"/>
                    <a:gd name="T22" fmla="*/ 940 w 954"/>
                    <a:gd name="T23" fmla="*/ 360 h 954"/>
                    <a:gd name="T24" fmla="*/ 952 w 954"/>
                    <a:gd name="T25" fmla="*/ 417 h 954"/>
                    <a:gd name="T26" fmla="*/ 954 w 954"/>
                    <a:gd name="T27" fmla="*/ 476 h 954"/>
                    <a:gd name="T28" fmla="*/ 952 w 954"/>
                    <a:gd name="T29" fmla="*/ 536 h 954"/>
                    <a:gd name="T30" fmla="*/ 940 w 954"/>
                    <a:gd name="T31" fmla="*/ 594 h 954"/>
                    <a:gd name="T32" fmla="*/ 923 w 954"/>
                    <a:gd name="T33" fmla="*/ 649 h 954"/>
                    <a:gd name="T34" fmla="*/ 899 w 954"/>
                    <a:gd name="T35" fmla="*/ 701 h 954"/>
                    <a:gd name="T36" fmla="*/ 869 w 954"/>
                    <a:gd name="T37" fmla="*/ 750 h 954"/>
                    <a:gd name="T38" fmla="*/ 834 w 954"/>
                    <a:gd name="T39" fmla="*/ 794 h 954"/>
                    <a:gd name="T40" fmla="*/ 795 w 954"/>
                    <a:gd name="T41" fmla="*/ 833 h 954"/>
                    <a:gd name="T42" fmla="*/ 750 w 954"/>
                    <a:gd name="T43" fmla="*/ 869 h 954"/>
                    <a:gd name="T44" fmla="*/ 702 w 954"/>
                    <a:gd name="T45" fmla="*/ 898 h 954"/>
                    <a:gd name="T46" fmla="*/ 651 w 954"/>
                    <a:gd name="T47" fmla="*/ 922 h 954"/>
                    <a:gd name="T48" fmla="*/ 596 w 954"/>
                    <a:gd name="T49" fmla="*/ 939 h 954"/>
                    <a:gd name="T50" fmla="*/ 537 w 954"/>
                    <a:gd name="T51" fmla="*/ 950 h 954"/>
                    <a:gd name="T52" fmla="*/ 478 w 954"/>
                    <a:gd name="T53" fmla="*/ 954 h 954"/>
                    <a:gd name="T54" fmla="*/ 418 w 954"/>
                    <a:gd name="T55" fmla="*/ 950 h 954"/>
                    <a:gd name="T56" fmla="*/ 360 w 954"/>
                    <a:gd name="T57" fmla="*/ 939 h 954"/>
                    <a:gd name="T58" fmla="*/ 305 w 954"/>
                    <a:gd name="T59" fmla="*/ 922 h 954"/>
                    <a:gd name="T60" fmla="*/ 253 w 954"/>
                    <a:gd name="T61" fmla="*/ 898 h 954"/>
                    <a:gd name="T62" fmla="*/ 204 w 954"/>
                    <a:gd name="T63" fmla="*/ 869 h 954"/>
                    <a:gd name="T64" fmla="*/ 161 w 954"/>
                    <a:gd name="T65" fmla="*/ 833 h 954"/>
                    <a:gd name="T66" fmla="*/ 121 w 954"/>
                    <a:gd name="T67" fmla="*/ 794 h 954"/>
                    <a:gd name="T68" fmla="*/ 85 w 954"/>
                    <a:gd name="T69" fmla="*/ 750 h 954"/>
                    <a:gd name="T70" fmla="*/ 57 w 954"/>
                    <a:gd name="T71" fmla="*/ 701 h 954"/>
                    <a:gd name="T72" fmla="*/ 33 w 954"/>
                    <a:gd name="T73" fmla="*/ 649 h 954"/>
                    <a:gd name="T74" fmla="*/ 15 w 954"/>
                    <a:gd name="T75" fmla="*/ 594 h 954"/>
                    <a:gd name="T76" fmla="*/ 4 w 954"/>
                    <a:gd name="T77" fmla="*/ 536 h 954"/>
                    <a:gd name="T78" fmla="*/ 0 w 954"/>
                    <a:gd name="T79" fmla="*/ 476 h 954"/>
                    <a:gd name="T80" fmla="*/ 4 w 954"/>
                    <a:gd name="T81" fmla="*/ 417 h 954"/>
                    <a:gd name="T82" fmla="*/ 15 w 954"/>
                    <a:gd name="T83" fmla="*/ 360 h 954"/>
                    <a:gd name="T84" fmla="*/ 33 w 954"/>
                    <a:gd name="T85" fmla="*/ 305 h 954"/>
                    <a:gd name="T86" fmla="*/ 57 w 954"/>
                    <a:gd name="T87" fmla="*/ 252 h 954"/>
                    <a:gd name="T88" fmla="*/ 85 w 954"/>
                    <a:gd name="T89" fmla="*/ 204 h 954"/>
                    <a:gd name="T90" fmla="*/ 121 w 954"/>
                    <a:gd name="T91" fmla="*/ 159 h 954"/>
                    <a:gd name="T92" fmla="*/ 161 w 954"/>
                    <a:gd name="T93" fmla="*/ 120 h 954"/>
                    <a:gd name="T94" fmla="*/ 204 w 954"/>
                    <a:gd name="T95" fmla="*/ 85 h 954"/>
                    <a:gd name="T96" fmla="*/ 253 w 954"/>
                    <a:gd name="T97" fmla="*/ 55 h 954"/>
                    <a:gd name="T98" fmla="*/ 305 w 954"/>
                    <a:gd name="T99" fmla="*/ 31 h 954"/>
                    <a:gd name="T100" fmla="*/ 360 w 954"/>
                    <a:gd name="T101" fmla="*/ 14 h 954"/>
                    <a:gd name="T102" fmla="*/ 418 w 954"/>
                    <a:gd name="T103" fmla="*/ 3 h 954"/>
                    <a:gd name="T104" fmla="*/ 478 w 954"/>
                    <a:gd name="T105" fmla="*/ 0 h 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54" h="954">
                      <a:moveTo>
                        <a:pt x="478" y="0"/>
                      </a:moveTo>
                      <a:lnTo>
                        <a:pt x="537" y="3"/>
                      </a:lnTo>
                      <a:lnTo>
                        <a:pt x="596" y="14"/>
                      </a:lnTo>
                      <a:lnTo>
                        <a:pt x="651" y="31"/>
                      </a:lnTo>
                      <a:lnTo>
                        <a:pt x="702" y="55"/>
                      </a:lnTo>
                      <a:lnTo>
                        <a:pt x="750" y="85"/>
                      </a:lnTo>
                      <a:lnTo>
                        <a:pt x="795" y="120"/>
                      </a:lnTo>
                      <a:lnTo>
                        <a:pt x="834" y="159"/>
                      </a:lnTo>
                      <a:lnTo>
                        <a:pt x="869" y="204"/>
                      </a:lnTo>
                      <a:lnTo>
                        <a:pt x="899" y="252"/>
                      </a:lnTo>
                      <a:lnTo>
                        <a:pt x="923" y="305"/>
                      </a:lnTo>
                      <a:lnTo>
                        <a:pt x="940" y="360"/>
                      </a:lnTo>
                      <a:lnTo>
                        <a:pt x="952" y="417"/>
                      </a:lnTo>
                      <a:lnTo>
                        <a:pt x="954" y="476"/>
                      </a:lnTo>
                      <a:lnTo>
                        <a:pt x="952" y="536"/>
                      </a:lnTo>
                      <a:lnTo>
                        <a:pt x="940" y="594"/>
                      </a:lnTo>
                      <a:lnTo>
                        <a:pt x="923" y="649"/>
                      </a:lnTo>
                      <a:lnTo>
                        <a:pt x="899" y="701"/>
                      </a:lnTo>
                      <a:lnTo>
                        <a:pt x="869" y="750"/>
                      </a:lnTo>
                      <a:lnTo>
                        <a:pt x="834" y="794"/>
                      </a:lnTo>
                      <a:lnTo>
                        <a:pt x="795" y="833"/>
                      </a:lnTo>
                      <a:lnTo>
                        <a:pt x="750" y="869"/>
                      </a:lnTo>
                      <a:lnTo>
                        <a:pt x="702" y="898"/>
                      </a:lnTo>
                      <a:lnTo>
                        <a:pt x="651" y="922"/>
                      </a:lnTo>
                      <a:lnTo>
                        <a:pt x="596" y="939"/>
                      </a:lnTo>
                      <a:lnTo>
                        <a:pt x="537" y="950"/>
                      </a:lnTo>
                      <a:lnTo>
                        <a:pt x="478" y="954"/>
                      </a:lnTo>
                      <a:lnTo>
                        <a:pt x="418" y="950"/>
                      </a:lnTo>
                      <a:lnTo>
                        <a:pt x="360" y="939"/>
                      </a:lnTo>
                      <a:lnTo>
                        <a:pt x="305" y="922"/>
                      </a:lnTo>
                      <a:lnTo>
                        <a:pt x="253" y="898"/>
                      </a:lnTo>
                      <a:lnTo>
                        <a:pt x="204" y="869"/>
                      </a:lnTo>
                      <a:lnTo>
                        <a:pt x="161" y="833"/>
                      </a:lnTo>
                      <a:lnTo>
                        <a:pt x="121" y="794"/>
                      </a:lnTo>
                      <a:lnTo>
                        <a:pt x="85" y="750"/>
                      </a:lnTo>
                      <a:lnTo>
                        <a:pt x="57" y="701"/>
                      </a:lnTo>
                      <a:lnTo>
                        <a:pt x="33" y="649"/>
                      </a:lnTo>
                      <a:lnTo>
                        <a:pt x="15" y="594"/>
                      </a:lnTo>
                      <a:lnTo>
                        <a:pt x="4" y="536"/>
                      </a:lnTo>
                      <a:lnTo>
                        <a:pt x="0" y="476"/>
                      </a:lnTo>
                      <a:lnTo>
                        <a:pt x="4" y="417"/>
                      </a:lnTo>
                      <a:lnTo>
                        <a:pt x="15" y="360"/>
                      </a:lnTo>
                      <a:lnTo>
                        <a:pt x="33" y="305"/>
                      </a:lnTo>
                      <a:lnTo>
                        <a:pt x="57" y="252"/>
                      </a:lnTo>
                      <a:lnTo>
                        <a:pt x="85" y="204"/>
                      </a:lnTo>
                      <a:lnTo>
                        <a:pt x="121" y="159"/>
                      </a:lnTo>
                      <a:lnTo>
                        <a:pt x="161" y="120"/>
                      </a:lnTo>
                      <a:lnTo>
                        <a:pt x="204" y="85"/>
                      </a:lnTo>
                      <a:lnTo>
                        <a:pt x="253" y="55"/>
                      </a:lnTo>
                      <a:lnTo>
                        <a:pt x="305" y="31"/>
                      </a:lnTo>
                      <a:lnTo>
                        <a:pt x="360" y="14"/>
                      </a:lnTo>
                      <a:lnTo>
                        <a:pt x="418" y="3"/>
                      </a:lnTo>
                      <a:lnTo>
                        <a:pt x="47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grpSp>
              <p:nvGrpSpPr>
                <p:cNvPr id="63" name="Group 62">
                  <a:extLst>
                    <a:ext uri="{FF2B5EF4-FFF2-40B4-BE49-F238E27FC236}">
                      <a16:creationId xmlns:a16="http://schemas.microsoft.com/office/drawing/2014/main" id="{1270EC10-C0DE-5316-A197-91509C1853E4}"/>
                    </a:ext>
                  </a:extLst>
                </p:cNvPr>
                <p:cNvGrpSpPr/>
                <p:nvPr/>
              </p:nvGrpSpPr>
              <p:grpSpPr>
                <a:xfrm>
                  <a:off x="4397306" y="2120940"/>
                  <a:ext cx="524579" cy="524260"/>
                  <a:chOff x="10374633" y="1122363"/>
                  <a:chExt cx="5206968" cy="5203825"/>
                </a:xfrm>
                <a:solidFill>
                  <a:schemeClr val="bg1"/>
                </a:solidFill>
              </p:grpSpPr>
              <p:sp>
                <p:nvSpPr>
                  <p:cNvPr id="1024" name="Freeform 30">
                    <a:extLst>
                      <a:ext uri="{FF2B5EF4-FFF2-40B4-BE49-F238E27FC236}">
                        <a16:creationId xmlns:a16="http://schemas.microsoft.com/office/drawing/2014/main" id="{C8EB2ECB-3296-63F4-CB09-F9314CCD796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3074944" y="1122363"/>
                    <a:ext cx="2506657" cy="5203825"/>
                  </a:xfrm>
                  <a:custGeom>
                    <a:avLst/>
                    <a:gdLst>
                      <a:gd name="T0" fmla="*/ 409 w 3157"/>
                      <a:gd name="T1" fmla="*/ 2551 h 6556"/>
                      <a:gd name="T2" fmla="*/ 1252 w 3157"/>
                      <a:gd name="T3" fmla="*/ 2799 h 6556"/>
                      <a:gd name="T4" fmla="*/ 624 w 3157"/>
                      <a:gd name="T5" fmla="*/ 2783 h 6556"/>
                      <a:gd name="T6" fmla="*/ 243 w 3157"/>
                      <a:gd name="T7" fmla="*/ 3295 h 6556"/>
                      <a:gd name="T8" fmla="*/ 823 w 3157"/>
                      <a:gd name="T9" fmla="*/ 4808 h 6556"/>
                      <a:gd name="T10" fmla="*/ 554 w 3157"/>
                      <a:gd name="T11" fmla="*/ 5017 h 6556"/>
                      <a:gd name="T12" fmla="*/ 480 w 3157"/>
                      <a:gd name="T13" fmla="*/ 6269 h 6556"/>
                      <a:gd name="T14" fmla="*/ 1117 w 3157"/>
                      <a:gd name="T15" fmla="*/ 5992 h 6556"/>
                      <a:gd name="T16" fmla="*/ 933 w 3157"/>
                      <a:gd name="T17" fmla="*/ 5619 h 6556"/>
                      <a:gd name="T18" fmla="*/ 756 w 3157"/>
                      <a:gd name="T19" fmla="*/ 5276 h 6556"/>
                      <a:gd name="T20" fmla="*/ 1063 w 3157"/>
                      <a:gd name="T21" fmla="*/ 5135 h 6556"/>
                      <a:gd name="T22" fmla="*/ 1334 w 3157"/>
                      <a:gd name="T23" fmla="*/ 5211 h 6556"/>
                      <a:gd name="T24" fmla="*/ 1549 w 3157"/>
                      <a:gd name="T25" fmla="*/ 6044 h 6556"/>
                      <a:gd name="T26" fmla="*/ 1984 w 3157"/>
                      <a:gd name="T27" fmla="*/ 5524 h 6556"/>
                      <a:gd name="T28" fmla="*/ 1813 w 3157"/>
                      <a:gd name="T29" fmla="*/ 5043 h 6556"/>
                      <a:gd name="T30" fmla="*/ 2166 w 3157"/>
                      <a:gd name="T31" fmla="*/ 5205 h 6556"/>
                      <a:gd name="T32" fmla="*/ 2591 w 3157"/>
                      <a:gd name="T33" fmla="*/ 4543 h 6556"/>
                      <a:gd name="T34" fmla="*/ 2136 w 3157"/>
                      <a:gd name="T35" fmla="*/ 4074 h 6556"/>
                      <a:gd name="T36" fmla="*/ 1230 w 3157"/>
                      <a:gd name="T37" fmla="*/ 4642 h 6556"/>
                      <a:gd name="T38" fmla="*/ 664 w 3157"/>
                      <a:gd name="T39" fmla="*/ 3616 h 6556"/>
                      <a:gd name="T40" fmla="*/ 666 w 3157"/>
                      <a:gd name="T41" fmla="*/ 3259 h 6556"/>
                      <a:gd name="T42" fmla="*/ 1164 w 3157"/>
                      <a:gd name="T43" fmla="*/ 3163 h 6556"/>
                      <a:gd name="T44" fmla="*/ 1408 w 3157"/>
                      <a:gd name="T45" fmla="*/ 3239 h 6556"/>
                      <a:gd name="T46" fmla="*/ 881 w 3157"/>
                      <a:gd name="T47" fmla="*/ 3909 h 6556"/>
                      <a:gd name="T48" fmla="*/ 1639 w 3157"/>
                      <a:gd name="T49" fmla="*/ 4282 h 6556"/>
                      <a:gd name="T50" fmla="*/ 1573 w 3157"/>
                      <a:gd name="T51" fmla="*/ 3492 h 6556"/>
                      <a:gd name="T52" fmla="*/ 2136 w 3157"/>
                      <a:gd name="T53" fmla="*/ 3831 h 6556"/>
                      <a:gd name="T54" fmla="*/ 2908 w 3157"/>
                      <a:gd name="T55" fmla="*/ 3785 h 6556"/>
                      <a:gd name="T56" fmla="*/ 2599 w 3157"/>
                      <a:gd name="T57" fmla="*/ 3201 h 6556"/>
                      <a:gd name="T58" fmla="*/ 2154 w 3157"/>
                      <a:gd name="T59" fmla="*/ 3433 h 6556"/>
                      <a:gd name="T60" fmla="*/ 2142 w 3157"/>
                      <a:gd name="T61" fmla="*/ 2779 h 6556"/>
                      <a:gd name="T62" fmla="*/ 2461 w 3157"/>
                      <a:gd name="T63" fmla="*/ 2707 h 6556"/>
                      <a:gd name="T64" fmla="*/ 2834 w 3157"/>
                      <a:gd name="T65" fmla="*/ 2480 h 6556"/>
                      <a:gd name="T66" fmla="*/ 2331 w 3157"/>
                      <a:gd name="T67" fmla="*/ 2091 h 6556"/>
                      <a:gd name="T68" fmla="*/ 1839 w 3157"/>
                      <a:gd name="T69" fmla="*/ 2709 h 6556"/>
                      <a:gd name="T70" fmla="*/ 1635 w 3157"/>
                      <a:gd name="T71" fmla="*/ 2575 h 6556"/>
                      <a:gd name="T72" fmla="*/ 1121 w 3157"/>
                      <a:gd name="T73" fmla="*/ 2215 h 6556"/>
                      <a:gd name="T74" fmla="*/ 1077 w 3157"/>
                      <a:gd name="T75" fmla="*/ 1959 h 6556"/>
                      <a:gd name="T76" fmla="*/ 2339 w 3157"/>
                      <a:gd name="T77" fmla="*/ 1848 h 6556"/>
                      <a:gd name="T78" fmla="*/ 2190 w 3157"/>
                      <a:gd name="T79" fmla="*/ 1465 h 6556"/>
                      <a:gd name="T80" fmla="*/ 1849 w 3157"/>
                      <a:gd name="T81" fmla="*/ 1547 h 6556"/>
                      <a:gd name="T82" fmla="*/ 1944 w 3157"/>
                      <a:gd name="T83" fmla="*/ 985 h 6556"/>
                      <a:gd name="T84" fmla="*/ 1316 w 3157"/>
                      <a:gd name="T85" fmla="*/ 1401 h 6556"/>
                      <a:gd name="T86" fmla="*/ 468 w 3157"/>
                      <a:gd name="T87" fmla="*/ 1637 h 6556"/>
                      <a:gd name="T88" fmla="*/ 803 w 3157"/>
                      <a:gd name="T89" fmla="*/ 1351 h 6556"/>
                      <a:gd name="T90" fmla="*/ 758 w 3157"/>
                      <a:gd name="T91" fmla="*/ 981 h 6556"/>
                      <a:gd name="T92" fmla="*/ 1374 w 3157"/>
                      <a:gd name="T93" fmla="*/ 915 h 6556"/>
                      <a:gd name="T94" fmla="*/ 969 w 3157"/>
                      <a:gd name="T95" fmla="*/ 405 h 6556"/>
                      <a:gd name="T96" fmla="*/ 504 w 3157"/>
                      <a:gd name="T97" fmla="*/ 791 h 6556"/>
                      <a:gd name="T98" fmla="*/ 584 w 3157"/>
                      <a:gd name="T99" fmla="*/ 259 h 6556"/>
                      <a:gd name="T100" fmla="*/ 1352 w 3157"/>
                      <a:gd name="T101" fmla="*/ 233 h 6556"/>
                      <a:gd name="T102" fmla="*/ 2232 w 3157"/>
                      <a:gd name="T103" fmla="*/ 1142 h 6556"/>
                      <a:gd name="T104" fmla="*/ 2904 w 3157"/>
                      <a:gd name="T105" fmla="*/ 2167 h 6556"/>
                      <a:gd name="T106" fmla="*/ 3151 w 3157"/>
                      <a:gd name="T107" fmla="*/ 3614 h 6556"/>
                      <a:gd name="T108" fmla="*/ 2856 w 3157"/>
                      <a:gd name="T109" fmla="*/ 4967 h 6556"/>
                      <a:gd name="T110" fmla="*/ 2028 w 3157"/>
                      <a:gd name="T111" fmla="*/ 6090 h 6556"/>
                      <a:gd name="T112" fmla="*/ 919 w 3157"/>
                      <a:gd name="T113" fmla="*/ 6514 h 6556"/>
                      <a:gd name="T114" fmla="*/ 0 w 3157"/>
                      <a:gd name="T115" fmla="*/ 5065 h 6556"/>
                      <a:gd name="T116" fmla="*/ 187 w 3157"/>
                      <a:gd name="T117" fmla="*/ 2799 h 6556"/>
                      <a:gd name="T118" fmla="*/ 223 w 3157"/>
                      <a:gd name="T119" fmla="*/ 78 h 65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3157" h="6556">
                        <a:moveTo>
                          <a:pt x="488" y="239"/>
                        </a:moveTo>
                        <a:lnTo>
                          <a:pt x="438" y="243"/>
                        </a:lnTo>
                        <a:lnTo>
                          <a:pt x="393" y="257"/>
                        </a:lnTo>
                        <a:lnTo>
                          <a:pt x="351" y="281"/>
                        </a:lnTo>
                        <a:lnTo>
                          <a:pt x="315" y="309"/>
                        </a:lnTo>
                        <a:lnTo>
                          <a:pt x="285" y="345"/>
                        </a:lnTo>
                        <a:lnTo>
                          <a:pt x="263" y="387"/>
                        </a:lnTo>
                        <a:lnTo>
                          <a:pt x="247" y="431"/>
                        </a:lnTo>
                        <a:lnTo>
                          <a:pt x="243" y="480"/>
                        </a:lnTo>
                        <a:lnTo>
                          <a:pt x="243" y="2195"/>
                        </a:lnTo>
                        <a:lnTo>
                          <a:pt x="247" y="2262"/>
                        </a:lnTo>
                        <a:lnTo>
                          <a:pt x="263" y="2328"/>
                        </a:lnTo>
                        <a:lnTo>
                          <a:pt x="287" y="2392"/>
                        </a:lnTo>
                        <a:lnTo>
                          <a:pt x="319" y="2450"/>
                        </a:lnTo>
                        <a:lnTo>
                          <a:pt x="361" y="2504"/>
                        </a:lnTo>
                        <a:lnTo>
                          <a:pt x="409" y="2551"/>
                        </a:lnTo>
                        <a:lnTo>
                          <a:pt x="462" y="2593"/>
                        </a:lnTo>
                        <a:lnTo>
                          <a:pt x="512" y="2571"/>
                        </a:lnTo>
                        <a:lnTo>
                          <a:pt x="566" y="2551"/>
                        </a:lnTo>
                        <a:lnTo>
                          <a:pt x="628" y="2536"/>
                        </a:lnTo>
                        <a:lnTo>
                          <a:pt x="692" y="2526"/>
                        </a:lnTo>
                        <a:lnTo>
                          <a:pt x="760" y="2520"/>
                        </a:lnTo>
                        <a:lnTo>
                          <a:pt x="831" y="2524"/>
                        </a:lnTo>
                        <a:lnTo>
                          <a:pt x="905" y="2534"/>
                        </a:lnTo>
                        <a:lnTo>
                          <a:pt x="981" y="2555"/>
                        </a:lnTo>
                        <a:lnTo>
                          <a:pt x="1059" y="2587"/>
                        </a:lnTo>
                        <a:lnTo>
                          <a:pt x="1135" y="2629"/>
                        </a:lnTo>
                        <a:lnTo>
                          <a:pt x="1212" y="2687"/>
                        </a:lnTo>
                        <a:lnTo>
                          <a:pt x="1232" y="2711"/>
                        </a:lnTo>
                        <a:lnTo>
                          <a:pt x="1248" y="2739"/>
                        </a:lnTo>
                        <a:lnTo>
                          <a:pt x="1254" y="2769"/>
                        </a:lnTo>
                        <a:lnTo>
                          <a:pt x="1252" y="2799"/>
                        </a:lnTo>
                        <a:lnTo>
                          <a:pt x="1242" y="2829"/>
                        </a:lnTo>
                        <a:lnTo>
                          <a:pt x="1224" y="2854"/>
                        </a:lnTo>
                        <a:lnTo>
                          <a:pt x="1198" y="2878"/>
                        </a:lnTo>
                        <a:lnTo>
                          <a:pt x="1166" y="2892"/>
                        </a:lnTo>
                        <a:lnTo>
                          <a:pt x="1133" y="2896"/>
                        </a:lnTo>
                        <a:lnTo>
                          <a:pt x="1105" y="2894"/>
                        </a:lnTo>
                        <a:lnTo>
                          <a:pt x="1079" y="2884"/>
                        </a:lnTo>
                        <a:lnTo>
                          <a:pt x="1055" y="2868"/>
                        </a:lnTo>
                        <a:lnTo>
                          <a:pt x="991" y="2823"/>
                        </a:lnTo>
                        <a:lnTo>
                          <a:pt x="929" y="2791"/>
                        </a:lnTo>
                        <a:lnTo>
                          <a:pt x="869" y="2771"/>
                        </a:lnTo>
                        <a:lnTo>
                          <a:pt x="813" y="2759"/>
                        </a:lnTo>
                        <a:lnTo>
                          <a:pt x="760" y="2757"/>
                        </a:lnTo>
                        <a:lnTo>
                          <a:pt x="710" y="2763"/>
                        </a:lnTo>
                        <a:lnTo>
                          <a:pt x="664" y="2771"/>
                        </a:lnTo>
                        <a:lnTo>
                          <a:pt x="624" y="2783"/>
                        </a:lnTo>
                        <a:lnTo>
                          <a:pt x="592" y="2797"/>
                        </a:lnTo>
                        <a:lnTo>
                          <a:pt x="564" y="2811"/>
                        </a:lnTo>
                        <a:lnTo>
                          <a:pt x="546" y="2821"/>
                        </a:lnTo>
                        <a:lnTo>
                          <a:pt x="534" y="2829"/>
                        </a:lnTo>
                        <a:lnTo>
                          <a:pt x="532" y="2829"/>
                        </a:lnTo>
                        <a:lnTo>
                          <a:pt x="530" y="2831"/>
                        </a:lnTo>
                        <a:lnTo>
                          <a:pt x="526" y="2833"/>
                        </a:lnTo>
                        <a:lnTo>
                          <a:pt x="522" y="2836"/>
                        </a:lnTo>
                        <a:lnTo>
                          <a:pt x="460" y="2874"/>
                        </a:lnTo>
                        <a:lnTo>
                          <a:pt x="407" y="2918"/>
                        </a:lnTo>
                        <a:lnTo>
                          <a:pt x="359" y="2970"/>
                        </a:lnTo>
                        <a:lnTo>
                          <a:pt x="319" y="3028"/>
                        </a:lnTo>
                        <a:lnTo>
                          <a:pt x="285" y="3090"/>
                        </a:lnTo>
                        <a:lnTo>
                          <a:pt x="263" y="3155"/>
                        </a:lnTo>
                        <a:lnTo>
                          <a:pt x="247" y="3223"/>
                        </a:lnTo>
                        <a:lnTo>
                          <a:pt x="243" y="3295"/>
                        </a:lnTo>
                        <a:lnTo>
                          <a:pt x="243" y="4351"/>
                        </a:lnTo>
                        <a:lnTo>
                          <a:pt x="249" y="4427"/>
                        </a:lnTo>
                        <a:lnTo>
                          <a:pt x="267" y="4503"/>
                        </a:lnTo>
                        <a:lnTo>
                          <a:pt x="295" y="4575"/>
                        </a:lnTo>
                        <a:lnTo>
                          <a:pt x="333" y="4640"/>
                        </a:lnTo>
                        <a:lnTo>
                          <a:pt x="345" y="4652"/>
                        </a:lnTo>
                        <a:lnTo>
                          <a:pt x="365" y="4668"/>
                        </a:lnTo>
                        <a:lnTo>
                          <a:pt x="393" y="4690"/>
                        </a:lnTo>
                        <a:lnTo>
                          <a:pt x="428" y="4712"/>
                        </a:lnTo>
                        <a:lnTo>
                          <a:pt x="470" y="4734"/>
                        </a:lnTo>
                        <a:lnTo>
                          <a:pt x="520" y="4758"/>
                        </a:lnTo>
                        <a:lnTo>
                          <a:pt x="578" y="4778"/>
                        </a:lnTo>
                        <a:lnTo>
                          <a:pt x="644" y="4794"/>
                        </a:lnTo>
                        <a:lnTo>
                          <a:pt x="716" y="4804"/>
                        </a:lnTo>
                        <a:lnTo>
                          <a:pt x="795" y="4808"/>
                        </a:lnTo>
                        <a:lnTo>
                          <a:pt x="823" y="4808"/>
                        </a:lnTo>
                        <a:lnTo>
                          <a:pt x="827" y="4808"/>
                        </a:lnTo>
                        <a:lnTo>
                          <a:pt x="863" y="4814"/>
                        </a:lnTo>
                        <a:lnTo>
                          <a:pt x="897" y="4830"/>
                        </a:lnTo>
                        <a:lnTo>
                          <a:pt x="923" y="4854"/>
                        </a:lnTo>
                        <a:lnTo>
                          <a:pt x="941" y="4886"/>
                        </a:lnTo>
                        <a:lnTo>
                          <a:pt x="947" y="4924"/>
                        </a:lnTo>
                        <a:lnTo>
                          <a:pt x="945" y="4955"/>
                        </a:lnTo>
                        <a:lnTo>
                          <a:pt x="933" y="4983"/>
                        </a:lnTo>
                        <a:lnTo>
                          <a:pt x="915" y="5009"/>
                        </a:lnTo>
                        <a:lnTo>
                          <a:pt x="891" y="5027"/>
                        </a:lnTo>
                        <a:lnTo>
                          <a:pt x="863" y="5041"/>
                        </a:lnTo>
                        <a:lnTo>
                          <a:pt x="829" y="5045"/>
                        </a:lnTo>
                        <a:lnTo>
                          <a:pt x="795" y="5047"/>
                        </a:lnTo>
                        <a:lnTo>
                          <a:pt x="710" y="5043"/>
                        </a:lnTo>
                        <a:lnTo>
                          <a:pt x="628" y="5033"/>
                        </a:lnTo>
                        <a:lnTo>
                          <a:pt x="554" y="5017"/>
                        </a:lnTo>
                        <a:lnTo>
                          <a:pt x="486" y="4997"/>
                        </a:lnTo>
                        <a:lnTo>
                          <a:pt x="425" y="4975"/>
                        </a:lnTo>
                        <a:lnTo>
                          <a:pt x="369" y="4949"/>
                        </a:lnTo>
                        <a:lnTo>
                          <a:pt x="319" y="4924"/>
                        </a:lnTo>
                        <a:lnTo>
                          <a:pt x="275" y="4898"/>
                        </a:lnTo>
                        <a:lnTo>
                          <a:pt x="257" y="4951"/>
                        </a:lnTo>
                        <a:lnTo>
                          <a:pt x="247" y="5007"/>
                        </a:lnTo>
                        <a:lnTo>
                          <a:pt x="243" y="5065"/>
                        </a:lnTo>
                        <a:lnTo>
                          <a:pt x="243" y="5884"/>
                        </a:lnTo>
                        <a:lnTo>
                          <a:pt x="249" y="5956"/>
                        </a:lnTo>
                        <a:lnTo>
                          <a:pt x="265" y="6022"/>
                        </a:lnTo>
                        <a:lnTo>
                          <a:pt x="293" y="6084"/>
                        </a:lnTo>
                        <a:lnTo>
                          <a:pt x="329" y="6141"/>
                        </a:lnTo>
                        <a:lnTo>
                          <a:pt x="373" y="6191"/>
                        </a:lnTo>
                        <a:lnTo>
                          <a:pt x="423" y="6235"/>
                        </a:lnTo>
                        <a:lnTo>
                          <a:pt x="480" y="6269"/>
                        </a:lnTo>
                        <a:lnTo>
                          <a:pt x="544" y="6295"/>
                        </a:lnTo>
                        <a:lnTo>
                          <a:pt x="612" y="6313"/>
                        </a:lnTo>
                        <a:lnTo>
                          <a:pt x="684" y="6319"/>
                        </a:lnTo>
                        <a:lnTo>
                          <a:pt x="754" y="6313"/>
                        </a:lnTo>
                        <a:lnTo>
                          <a:pt x="821" y="6297"/>
                        </a:lnTo>
                        <a:lnTo>
                          <a:pt x="883" y="6271"/>
                        </a:lnTo>
                        <a:lnTo>
                          <a:pt x="941" y="6235"/>
                        </a:lnTo>
                        <a:lnTo>
                          <a:pt x="993" y="6193"/>
                        </a:lnTo>
                        <a:lnTo>
                          <a:pt x="1039" y="6141"/>
                        </a:lnTo>
                        <a:lnTo>
                          <a:pt x="1075" y="6084"/>
                        </a:lnTo>
                        <a:lnTo>
                          <a:pt x="1103" y="6020"/>
                        </a:lnTo>
                        <a:lnTo>
                          <a:pt x="1103" y="6018"/>
                        </a:lnTo>
                        <a:lnTo>
                          <a:pt x="1105" y="6014"/>
                        </a:lnTo>
                        <a:lnTo>
                          <a:pt x="1107" y="6012"/>
                        </a:lnTo>
                        <a:lnTo>
                          <a:pt x="1111" y="6002"/>
                        </a:lnTo>
                        <a:lnTo>
                          <a:pt x="1117" y="5992"/>
                        </a:lnTo>
                        <a:lnTo>
                          <a:pt x="1121" y="5984"/>
                        </a:lnTo>
                        <a:lnTo>
                          <a:pt x="1127" y="5976"/>
                        </a:lnTo>
                        <a:lnTo>
                          <a:pt x="1135" y="5962"/>
                        </a:lnTo>
                        <a:lnTo>
                          <a:pt x="1145" y="5944"/>
                        </a:lnTo>
                        <a:lnTo>
                          <a:pt x="1155" y="5920"/>
                        </a:lnTo>
                        <a:lnTo>
                          <a:pt x="1162" y="5892"/>
                        </a:lnTo>
                        <a:lnTo>
                          <a:pt x="1170" y="5860"/>
                        </a:lnTo>
                        <a:lnTo>
                          <a:pt x="1172" y="5825"/>
                        </a:lnTo>
                        <a:lnTo>
                          <a:pt x="1170" y="5783"/>
                        </a:lnTo>
                        <a:lnTo>
                          <a:pt x="1162" y="5739"/>
                        </a:lnTo>
                        <a:lnTo>
                          <a:pt x="1149" y="5691"/>
                        </a:lnTo>
                        <a:lnTo>
                          <a:pt x="1125" y="5639"/>
                        </a:lnTo>
                        <a:lnTo>
                          <a:pt x="1093" y="5585"/>
                        </a:lnTo>
                        <a:lnTo>
                          <a:pt x="1041" y="5603"/>
                        </a:lnTo>
                        <a:lnTo>
                          <a:pt x="987" y="5615"/>
                        </a:lnTo>
                        <a:lnTo>
                          <a:pt x="933" y="5619"/>
                        </a:lnTo>
                        <a:lnTo>
                          <a:pt x="871" y="5615"/>
                        </a:lnTo>
                        <a:lnTo>
                          <a:pt x="811" y="5601"/>
                        </a:lnTo>
                        <a:lnTo>
                          <a:pt x="754" y="5577"/>
                        </a:lnTo>
                        <a:lnTo>
                          <a:pt x="700" y="5545"/>
                        </a:lnTo>
                        <a:lnTo>
                          <a:pt x="652" y="5506"/>
                        </a:lnTo>
                        <a:lnTo>
                          <a:pt x="608" y="5456"/>
                        </a:lnTo>
                        <a:lnTo>
                          <a:pt x="594" y="5428"/>
                        </a:lnTo>
                        <a:lnTo>
                          <a:pt x="586" y="5398"/>
                        </a:lnTo>
                        <a:lnTo>
                          <a:pt x="586" y="5368"/>
                        </a:lnTo>
                        <a:lnTo>
                          <a:pt x="596" y="5338"/>
                        </a:lnTo>
                        <a:lnTo>
                          <a:pt x="612" y="5312"/>
                        </a:lnTo>
                        <a:lnTo>
                          <a:pt x="636" y="5290"/>
                        </a:lnTo>
                        <a:lnTo>
                          <a:pt x="664" y="5274"/>
                        </a:lnTo>
                        <a:lnTo>
                          <a:pt x="696" y="5268"/>
                        </a:lnTo>
                        <a:lnTo>
                          <a:pt x="726" y="5268"/>
                        </a:lnTo>
                        <a:lnTo>
                          <a:pt x="756" y="5276"/>
                        </a:lnTo>
                        <a:lnTo>
                          <a:pt x="784" y="5292"/>
                        </a:lnTo>
                        <a:lnTo>
                          <a:pt x="805" y="5316"/>
                        </a:lnTo>
                        <a:lnTo>
                          <a:pt x="829" y="5342"/>
                        </a:lnTo>
                        <a:lnTo>
                          <a:pt x="859" y="5362"/>
                        </a:lnTo>
                        <a:lnTo>
                          <a:pt x="891" y="5376"/>
                        </a:lnTo>
                        <a:lnTo>
                          <a:pt x="925" y="5380"/>
                        </a:lnTo>
                        <a:lnTo>
                          <a:pt x="961" y="5378"/>
                        </a:lnTo>
                        <a:lnTo>
                          <a:pt x="995" y="5368"/>
                        </a:lnTo>
                        <a:lnTo>
                          <a:pt x="1027" y="5352"/>
                        </a:lnTo>
                        <a:lnTo>
                          <a:pt x="1053" y="5326"/>
                        </a:lnTo>
                        <a:lnTo>
                          <a:pt x="1073" y="5298"/>
                        </a:lnTo>
                        <a:lnTo>
                          <a:pt x="1087" y="5266"/>
                        </a:lnTo>
                        <a:lnTo>
                          <a:pt x="1093" y="5232"/>
                        </a:lnTo>
                        <a:lnTo>
                          <a:pt x="1091" y="5199"/>
                        </a:lnTo>
                        <a:lnTo>
                          <a:pt x="1081" y="5165"/>
                        </a:lnTo>
                        <a:lnTo>
                          <a:pt x="1063" y="5135"/>
                        </a:lnTo>
                        <a:lnTo>
                          <a:pt x="1047" y="5105"/>
                        </a:lnTo>
                        <a:lnTo>
                          <a:pt x="1039" y="5075"/>
                        </a:lnTo>
                        <a:lnTo>
                          <a:pt x="1041" y="5045"/>
                        </a:lnTo>
                        <a:lnTo>
                          <a:pt x="1049" y="5015"/>
                        </a:lnTo>
                        <a:lnTo>
                          <a:pt x="1067" y="4989"/>
                        </a:lnTo>
                        <a:lnTo>
                          <a:pt x="1089" y="4967"/>
                        </a:lnTo>
                        <a:lnTo>
                          <a:pt x="1119" y="4951"/>
                        </a:lnTo>
                        <a:lnTo>
                          <a:pt x="1149" y="4945"/>
                        </a:lnTo>
                        <a:lnTo>
                          <a:pt x="1180" y="4945"/>
                        </a:lnTo>
                        <a:lnTo>
                          <a:pt x="1210" y="4955"/>
                        </a:lnTo>
                        <a:lnTo>
                          <a:pt x="1236" y="4971"/>
                        </a:lnTo>
                        <a:lnTo>
                          <a:pt x="1258" y="4993"/>
                        </a:lnTo>
                        <a:lnTo>
                          <a:pt x="1290" y="5045"/>
                        </a:lnTo>
                        <a:lnTo>
                          <a:pt x="1314" y="5099"/>
                        </a:lnTo>
                        <a:lnTo>
                          <a:pt x="1328" y="5155"/>
                        </a:lnTo>
                        <a:lnTo>
                          <a:pt x="1334" y="5211"/>
                        </a:lnTo>
                        <a:lnTo>
                          <a:pt x="1332" y="5268"/>
                        </a:lnTo>
                        <a:lnTo>
                          <a:pt x="1322" y="5324"/>
                        </a:lnTo>
                        <a:lnTo>
                          <a:pt x="1304" y="5378"/>
                        </a:lnTo>
                        <a:lnTo>
                          <a:pt x="1276" y="5428"/>
                        </a:lnTo>
                        <a:lnTo>
                          <a:pt x="1326" y="5504"/>
                        </a:lnTo>
                        <a:lnTo>
                          <a:pt x="1364" y="5577"/>
                        </a:lnTo>
                        <a:lnTo>
                          <a:pt x="1390" y="5649"/>
                        </a:lnTo>
                        <a:lnTo>
                          <a:pt x="1406" y="5717"/>
                        </a:lnTo>
                        <a:lnTo>
                          <a:pt x="1414" y="5785"/>
                        </a:lnTo>
                        <a:lnTo>
                          <a:pt x="1414" y="5846"/>
                        </a:lnTo>
                        <a:lnTo>
                          <a:pt x="1408" y="5906"/>
                        </a:lnTo>
                        <a:lnTo>
                          <a:pt x="1396" y="5960"/>
                        </a:lnTo>
                        <a:lnTo>
                          <a:pt x="1380" y="6010"/>
                        </a:lnTo>
                        <a:lnTo>
                          <a:pt x="1434" y="6028"/>
                        </a:lnTo>
                        <a:lnTo>
                          <a:pt x="1492" y="6040"/>
                        </a:lnTo>
                        <a:lnTo>
                          <a:pt x="1549" y="6044"/>
                        </a:lnTo>
                        <a:lnTo>
                          <a:pt x="1621" y="6038"/>
                        </a:lnTo>
                        <a:lnTo>
                          <a:pt x="1689" y="6022"/>
                        </a:lnTo>
                        <a:lnTo>
                          <a:pt x="1751" y="5996"/>
                        </a:lnTo>
                        <a:lnTo>
                          <a:pt x="1809" y="5960"/>
                        </a:lnTo>
                        <a:lnTo>
                          <a:pt x="1861" y="5918"/>
                        </a:lnTo>
                        <a:lnTo>
                          <a:pt x="1904" y="5866"/>
                        </a:lnTo>
                        <a:lnTo>
                          <a:pt x="1940" y="5811"/>
                        </a:lnTo>
                        <a:lnTo>
                          <a:pt x="1966" y="5749"/>
                        </a:lnTo>
                        <a:lnTo>
                          <a:pt x="1984" y="5681"/>
                        </a:lnTo>
                        <a:lnTo>
                          <a:pt x="1990" y="5611"/>
                        </a:lnTo>
                        <a:lnTo>
                          <a:pt x="1984" y="5549"/>
                        </a:lnTo>
                        <a:lnTo>
                          <a:pt x="1984" y="5543"/>
                        </a:lnTo>
                        <a:lnTo>
                          <a:pt x="1984" y="5539"/>
                        </a:lnTo>
                        <a:lnTo>
                          <a:pt x="1986" y="5533"/>
                        </a:lnTo>
                        <a:lnTo>
                          <a:pt x="1984" y="5529"/>
                        </a:lnTo>
                        <a:lnTo>
                          <a:pt x="1984" y="5524"/>
                        </a:lnTo>
                        <a:lnTo>
                          <a:pt x="1984" y="5520"/>
                        </a:lnTo>
                        <a:lnTo>
                          <a:pt x="1986" y="5464"/>
                        </a:lnTo>
                        <a:lnTo>
                          <a:pt x="1980" y="5410"/>
                        </a:lnTo>
                        <a:lnTo>
                          <a:pt x="1968" y="5362"/>
                        </a:lnTo>
                        <a:lnTo>
                          <a:pt x="1954" y="5318"/>
                        </a:lnTo>
                        <a:lnTo>
                          <a:pt x="1934" y="5278"/>
                        </a:lnTo>
                        <a:lnTo>
                          <a:pt x="1914" y="5242"/>
                        </a:lnTo>
                        <a:lnTo>
                          <a:pt x="1894" y="5213"/>
                        </a:lnTo>
                        <a:lnTo>
                          <a:pt x="1877" y="5189"/>
                        </a:lnTo>
                        <a:lnTo>
                          <a:pt x="1863" y="5171"/>
                        </a:lnTo>
                        <a:lnTo>
                          <a:pt x="1853" y="5161"/>
                        </a:lnTo>
                        <a:lnTo>
                          <a:pt x="1849" y="5157"/>
                        </a:lnTo>
                        <a:lnTo>
                          <a:pt x="1829" y="5131"/>
                        </a:lnTo>
                        <a:lnTo>
                          <a:pt x="1815" y="5103"/>
                        </a:lnTo>
                        <a:lnTo>
                          <a:pt x="1811" y="5073"/>
                        </a:lnTo>
                        <a:lnTo>
                          <a:pt x="1813" y="5043"/>
                        </a:lnTo>
                        <a:lnTo>
                          <a:pt x="1825" y="5013"/>
                        </a:lnTo>
                        <a:lnTo>
                          <a:pt x="1845" y="4987"/>
                        </a:lnTo>
                        <a:lnTo>
                          <a:pt x="1869" y="4967"/>
                        </a:lnTo>
                        <a:lnTo>
                          <a:pt x="1898" y="4955"/>
                        </a:lnTo>
                        <a:lnTo>
                          <a:pt x="1928" y="4949"/>
                        </a:lnTo>
                        <a:lnTo>
                          <a:pt x="1960" y="4953"/>
                        </a:lnTo>
                        <a:lnTo>
                          <a:pt x="1988" y="4963"/>
                        </a:lnTo>
                        <a:lnTo>
                          <a:pt x="2016" y="4983"/>
                        </a:lnTo>
                        <a:lnTo>
                          <a:pt x="2020" y="4989"/>
                        </a:lnTo>
                        <a:lnTo>
                          <a:pt x="2032" y="5001"/>
                        </a:lnTo>
                        <a:lnTo>
                          <a:pt x="2050" y="5019"/>
                        </a:lnTo>
                        <a:lnTo>
                          <a:pt x="2070" y="5045"/>
                        </a:lnTo>
                        <a:lnTo>
                          <a:pt x="2094" y="5077"/>
                        </a:lnTo>
                        <a:lnTo>
                          <a:pt x="2118" y="5113"/>
                        </a:lnTo>
                        <a:lnTo>
                          <a:pt x="2142" y="5157"/>
                        </a:lnTo>
                        <a:lnTo>
                          <a:pt x="2166" y="5205"/>
                        </a:lnTo>
                        <a:lnTo>
                          <a:pt x="2188" y="5256"/>
                        </a:lnTo>
                        <a:lnTo>
                          <a:pt x="2206" y="5314"/>
                        </a:lnTo>
                        <a:lnTo>
                          <a:pt x="2218" y="5376"/>
                        </a:lnTo>
                        <a:lnTo>
                          <a:pt x="2289" y="5342"/>
                        </a:lnTo>
                        <a:lnTo>
                          <a:pt x="2357" y="5302"/>
                        </a:lnTo>
                        <a:lnTo>
                          <a:pt x="2417" y="5254"/>
                        </a:lnTo>
                        <a:lnTo>
                          <a:pt x="2471" y="5201"/>
                        </a:lnTo>
                        <a:lnTo>
                          <a:pt x="2519" y="5141"/>
                        </a:lnTo>
                        <a:lnTo>
                          <a:pt x="2559" y="5075"/>
                        </a:lnTo>
                        <a:lnTo>
                          <a:pt x="2591" y="5005"/>
                        </a:lnTo>
                        <a:lnTo>
                          <a:pt x="2615" y="4931"/>
                        </a:lnTo>
                        <a:lnTo>
                          <a:pt x="2628" y="4856"/>
                        </a:lnTo>
                        <a:lnTo>
                          <a:pt x="2634" y="4776"/>
                        </a:lnTo>
                        <a:lnTo>
                          <a:pt x="2628" y="4694"/>
                        </a:lnTo>
                        <a:lnTo>
                          <a:pt x="2615" y="4617"/>
                        </a:lnTo>
                        <a:lnTo>
                          <a:pt x="2591" y="4543"/>
                        </a:lnTo>
                        <a:lnTo>
                          <a:pt x="2557" y="4471"/>
                        </a:lnTo>
                        <a:lnTo>
                          <a:pt x="2515" y="4403"/>
                        </a:lnTo>
                        <a:lnTo>
                          <a:pt x="2513" y="4401"/>
                        </a:lnTo>
                        <a:lnTo>
                          <a:pt x="2513" y="4399"/>
                        </a:lnTo>
                        <a:lnTo>
                          <a:pt x="2507" y="4389"/>
                        </a:lnTo>
                        <a:lnTo>
                          <a:pt x="2501" y="4379"/>
                        </a:lnTo>
                        <a:lnTo>
                          <a:pt x="2497" y="4369"/>
                        </a:lnTo>
                        <a:lnTo>
                          <a:pt x="2473" y="4312"/>
                        </a:lnTo>
                        <a:lnTo>
                          <a:pt x="2443" y="4262"/>
                        </a:lnTo>
                        <a:lnTo>
                          <a:pt x="2409" y="4218"/>
                        </a:lnTo>
                        <a:lnTo>
                          <a:pt x="2367" y="4182"/>
                        </a:lnTo>
                        <a:lnTo>
                          <a:pt x="2323" y="4150"/>
                        </a:lnTo>
                        <a:lnTo>
                          <a:pt x="2277" y="4124"/>
                        </a:lnTo>
                        <a:lnTo>
                          <a:pt x="2230" y="4104"/>
                        </a:lnTo>
                        <a:lnTo>
                          <a:pt x="2182" y="4088"/>
                        </a:lnTo>
                        <a:lnTo>
                          <a:pt x="2136" y="4074"/>
                        </a:lnTo>
                        <a:lnTo>
                          <a:pt x="2090" y="4066"/>
                        </a:lnTo>
                        <a:lnTo>
                          <a:pt x="2046" y="4058"/>
                        </a:lnTo>
                        <a:lnTo>
                          <a:pt x="2006" y="4054"/>
                        </a:lnTo>
                        <a:lnTo>
                          <a:pt x="1990" y="4136"/>
                        </a:lnTo>
                        <a:lnTo>
                          <a:pt x="1966" y="4216"/>
                        </a:lnTo>
                        <a:lnTo>
                          <a:pt x="1930" y="4290"/>
                        </a:lnTo>
                        <a:lnTo>
                          <a:pt x="1888" y="4357"/>
                        </a:lnTo>
                        <a:lnTo>
                          <a:pt x="1839" y="4421"/>
                        </a:lnTo>
                        <a:lnTo>
                          <a:pt x="1781" y="4477"/>
                        </a:lnTo>
                        <a:lnTo>
                          <a:pt x="1717" y="4527"/>
                        </a:lnTo>
                        <a:lnTo>
                          <a:pt x="1647" y="4569"/>
                        </a:lnTo>
                        <a:lnTo>
                          <a:pt x="1571" y="4603"/>
                        </a:lnTo>
                        <a:lnTo>
                          <a:pt x="1494" y="4629"/>
                        </a:lnTo>
                        <a:lnTo>
                          <a:pt x="1410" y="4644"/>
                        </a:lnTo>
                        <a:lnTo>
                          <a:pt x="1324" y="4648"/>
                        </a:lnTo>
                        <a:lnTo>
                          <a:pt x="1230" y="4642"/>
                        </a:lnTo>
                        <a:lnTo>
                          <a:pt x="1141" y="4625"/>
                        </a:lnTo>
                        <a:lnTo>
                          <a:pt x="1055" y="4595"/>
                        </a:lnTo>
                        <a:lnTo>
                          <a:pt x="977" y="4557"/>
                        </a:lnTo>
                        <a:lnTo>
                          <a:pt x="903" y="4507"/>
                        </a:lnTo>
                        <a:lnTo>
                          <a:pt x="837" y="4451"/>
                        </a:lnTo>
                        <a:lnTo>
                          <a:pt x="778" y="4385"/>
                        </a:lnTo>
                        <a:lnTo>
                          <a:pt x="730" y="4314"/>
                        </a:lnTo>
                        <a:lnTo>
                          <a:pt x="690" y="4236"/>
                        </a:lnTo>
                        <a:lnTo>
                          <a:pt x="660" y="4152"/>
                        </a:lnTo>
                        <a:lnTo>
                          <a:pt x="642" y="4064"/>
                        </a:lnTo>
                        <a:lnTo>
                          <a:pt x="634" y="3973"/>
                        </a:lnTo>
                        <a:lnTo>
                          <a:pt x="640" y="3887"/>
                        </a:lnTo>
                        <a:lnTo>
                          <a:pt x="658" y="3803"/>
                        </a:lnTo>
                        <a:lnTo>
                          <a:pt x="684" y="3722"/>
                        </a:lnTo>
                        <a:lnTo>
                          <a:pt x="722" y="3646"/>
                        </a:lnTo>
                        <a:lnTo>
                          <a:pt x="664" y="3616"/>
                        </a:lnTo>
                        <a:lnTo>
                          <a:pt x="610" y="3580"/>
                        </a:lnTo>
                        <a:lnTo>
                          <a:pt x="562" y="3538"/>
                        </a:lnTo>
                        <a:lnTo>
                          <a:pt x="518" y="3488"/>
                        </a:lnTo>
                        <a:lnTo>
                          <a:pt x="482" y="3433"/>
                        </a:lnTo>
                        <a:lnTo>
                          <a:pt x="454" y="3371"/>
                        </a:lnTo>
                        <a:lnTo>
                          <a:pt x="446" y="3339"/>
                        </a:lnTo>
                        <a:lnTo>
                          <a:pt x="448" y="3309"/>
                        </a:lnTo>
                        <a:lnTo>
                          <a:pt x="456" y="3279"/>
                        </a:lnTo>
                        <a:lnTo>
                          <a:pt x="474" y="3253"/>
                        </a:lnTo>
                        <a:lnTo>
                          <a:pt x="496" y="3233"/>
                        </a:lnTo>
                        <a:lnTo>
                          <a:pt x="524" y="3217"/>
                        </a:lnTo>
                        <a:lnTo>
                          <a:pt x="556" y="3211"/>
                        </a:lnTo>
                        <a:lnTo>
                          <a:pt x="588" y="3211"/>
                        </a:lnTo>
                        <a:lnTo>
                          <a:pt x="618" y="3221"/>
                        </a:lnTo>
                        <a:lnTo>
                          <a:pt x="644" y="3237"/>
                        </a:lnTo>
                        <a:lnTo>
                          <a:pt x="666" y="3259"/>
                        </a:lnTo>
                        <a:lnTo>
                          <a:pt x="682" y="3287"/>
                        </a:lnTo>
                        <a:lnTo>
                          <a:pt x="704" y="3333"/>
                        </a:lnTo>
                        <a:lnTo>
                          <a:pt x="734" y="3371"/>
                        </a:lnTo>
                        <a:lnTo>
                          <a:pt x="770" y="3403"/>
                        </a:lnTo>
                        <a:lnTo>
                          <a:pt x="811" y="3425"/>
                        </a:lnTo>
                        <a:lnTo>
                          <a:pt x="857" y="3440"/>
                        </a:lnTo>
                        <a:lnTo>
                          <a:pt x="905" y="3448"/>
                        </a:lnTo>
                        <a:lnTo>
                          <a:pt x="955" y="3444"/>
                        </a:lnTo>
                        <a:lnTo>
                          <a:pt x="1005" y="3433"/>
                        </a:lnTo>
                        <a:lnTo>
                          <a:pt x="1049" y="3411"/>
                        </a:lnTo>
                        <a:lnTo>
                          <a:pt x="1089" y="3381"/>
                        </a:lnTo>
                        <a:lnTo>
                          <a:pt x="1121" y="3345"/>
                        </a:lnTo>
                        <a:lnTo>
                          <a:pt x="1145" y="3303"/>
                        </a:lnTo>
                        <a:lnTo>
                          <a:pt x="1160" y="3259"/>
                        </a:lnTo>
                        <a:lnTo>
                          <a:pt x="1166" y="3211"/>
                        </a:lnTo>
                        <a:lnTo>
                          <a:pt x="1164" y="3163"/>
                        </a:lnTo>
                        <a:lnTo>
                          <a:pt x="1151" y="3116"/>
                        </a:lnTo>
                        <a:lnTo>
                          <a:pt x="1145" y="3084"/>
                        </a:lnTo>
                        <a:lnTo>
                          <a:pt x="1147" y="3054"/>
                        </a:lnTo>
                        <a:lnTo>
                          <a:pt x="1155" y="3024"/>
                        </a:lnTo>
                        <a:lnTo>
                          <a:pt x="1170" y="2998"/>
                        </a:lnTo>
                        <a:lnTo>
                          <a:pt x="1194" y="2976"/>
                        </a:lnTo>
                        <a:lnTo>
                          <a:pt x="1222" y="2962"/>
                        </a:lnTo>
                        <a:lnTo>
                          <a:pt x="1254" y="2954"/>
                        </a:lnTo>
                        <a:lnTo>
                          <a:pt x="1286" y="2956"/>
                        </a:lnTo>
                        <a:lnTo>
                          <a:pt x="1316" y="2966"/>
                        </a:lnTo>
                        <a:lnTo>
                          <a:pt x="1342" y="2982"/>
                        </a:lnTo>
                        <a:lnTo>
                          <a:pt x="1364" y="3004"/>
                        </a:lnTo>
                        <a:lnTo>
                          <a:pt x="1378" y="3032"/>
                        </a:lnTo>
                        <a:lnTo>
                          <a:pt x="1400" y="3102"/>
                        </a:lnTo>
                        <a:lnTo>
                          <a:pt x="1410" y="3169"/>
                        </a:lnTo>
                        <a:lnTo>
                          <a:pt x="1408" y="3239"/>
                        </a:lnTo>
                        <a:lnTo>
                          <a:pt x="1398" y="3307"/>
                        </a:lnTo>
                        <a:lnTo>
                          <a:pt x="1378" y="3371"/>
                        </a:lnTo>
                        <a:lnTo>
                          <a:pt x="1350" y="3433"/>
                        </a:lnTo>
                        <a:lnTo>
                          <a:pt x="1312" y="3490"/>
                        </a:lnTo>
                        <a:lnTo>
                          <a:pt x="1268" y="3542"/>
                        </a:lnTo>
                        <a:lnTo>
                          <a:pt x="1214" y="3588"/>
                        </a:lnTo>
                        <a:lnTo>
                          <a:pt x="1155" y="3626"/>
                        </a:lnTo>
                        <a:lnTo>
                          <a:pt x="1089" y="3656"/>
                        </a:lnTo>
                        <a:lnTo>
                          <a:pt x="1039" y="3670"/>
                        </a:lnTo>
                        <a:lnTo>
                          <a:pt x="989" y="3680"/>
                        </a:lnTo>
                        <a:lnTo>
                          <a:pt x="987" y="3684"/>
                        </a:lnTo>
                        <a:lnTo>
                          <a:pt x="985" y="3686"/>
                        </a:lnTo>
                        <a:lnTo>
                          <a:pt x="947" y="3735"/>
                        </a:lnTo>
                        <a:lnTo>
                          <a:pt x="917" y="3791"/>
                        </a:lnTo>
                        <a:lnTo>
                          <a:pt x="895" y="3849"/>
                        </a:lnTo>
                        <a:lnTo>
                          <a:pt x="881" y="3909"/>
                        </a:lnTo>
                        <a:lnTo>
                          <a:pt x="877" y="3973"/>
                        </a:lnTo>
                        <a:lnTo>
                          <a:pt x="883" y="4042"/>
                        </a:lnTo>
                        <a:lnTo>
                          <a:pt x="901" y="4110"/>
                        </a:lnTo>
                        <a:lnTo>
                          <a:pt x="927" y="4174"/>
                        </a:lnTo>
                        <a:lnTo>
                          <a:pt x="963" y="4230"/>
                        </a:lnTo>
                        <a:lnTo>
                          <a:pt x="1009" y="4282"/>
                        </a:lnTo>
                        <a:lnTo>
                          <a:pt x="1061" y="4326"/>
                        </a:lnTo>
                        <a:lnTo>
                          <a:pt x="1119" y="4361"/>
                        </a:lnTo>
                        <a:lnTo>
                          <a:pt x="1182" y="4387"/>
                        </a:lnTo>
                        <a:lnTo>
                          <a:pt x="1250" y="4405"/>
                        </a:lnTo>
                        <a:lnTo>
                          <a:pt x="1324" y="4411"/>
                        </a:lnTo>
                        <a:lnTo>
                          <a:pt x="1396" y="4405"/>
                        </a:lnTo>
                        <a:lnTo>
                          <a:pt x="1464" y="4387"/>
                        </a:lnTo>
                        <a:lnTo>
                          <a:pt x="1527" y="4361"/>
                        </a:lnTo>
                        <a:lnTo>
                          <a:pt x="1587" y="4326"/>
                        </a:lnTo>
                        <a:lnTo>
                          <a:pt x="1639" y="4282"/>
                        </a:lnTo>
                        <a:lnTo>
                          <a:pt x="1683" y="4230"/>
                        </a:lnTo>
                        <a:lnTo>
                          <a:pt x="1719" y="4174"/>
                        </a:lnTo>
                        <a:lnTo>
                          <a:pt x="1747" y="4110"/>
                        </a:lnTo>
                        <a:lnTo>
                          <a:pt x="1763" y="4042"/>
                        </a:lnTo>
                        <a:lnTo>
                          <a:pt x="1769" y="3973"/>
                        </a:lnTo>
                        <a:lnTo>
                          <a:pt x="1765" y="3907"/>
                        </a:lnTo>
                        <a:lnTo>
                          <a:pt x="1751" y="3845"/>
                        </a:lnTo>
                        <a:lnTo>
                          <a:pt x="1727" y="3785"/>
                        </a:lnTo>
                        <a:lnTo>
                          <a:pt x="1695" y="3730"/>
                        </a:lnTo>
                        <a:lnTo>
                          <a:pt x="1655" y="3678"/>
                        </a:lnTo>
                        <a:lnTo>
                          <a:pt x="1607" y="3634"/>
                        </a:lnTo>
                        <a:lnTo>
                          <a:pt x="1585" y="3610"/>
                        </a:lnTo>
                        <a:lnTo>
                          <a:pt x="1569" y="3582"/>
                        </a:lnTo>
                        <a:lnTo>
                          <a:pt x="1563" y="3552"/>
                        </a:lnTo>
                        <a:lnTo>
                          <a:pt x="1563" y="3522"/>
                        </a:lnTo>
                        <a:lnTo>
                          <a:pt x="1573" y="3492"/>
                        </a:lnTo>
                        <a:lnTo>
                          <a:pt x="1589" y="3466"/>
                        </a:lnTo>
                        <a:lnTo>
                          <a:pt x="1613" y="3444"/>
                        </a:lnTo>
                        <a:lnTo>
                          <a:pt x="1641" y="3429"/>
                        </a:lnTo>
                        <a:lnTo>
                          <a:pt x="1671" y="3423"/>
                        </a:lnTo>
                        <a:lnTo>
                          <a:pt x="1703" y="3423"/>
                        </a:lnTo>
                        <a:lnTo>
                          <a:pt x="1733" y="3433"/>
                        </a:lnTo>
                        <a:lnTo>
                          <a:pt x="1761" y="3448"/>
                        </a:lnTo>
                        <a:lnTo>
                          <a:pt x="1817" y="3500"/>
                        </a:lnTo>
                        <a:lnTo>
                          <a:pt x="1867" y="3554"/>
                        </a:lnTo>
                        <a:lnTo>
                          <a:pt x="1908" y="3614"/>
                        </a:lnTo>
                        <a:lnTo>
                          <a:pt x="1944" y="3678"/>
                        </a:lnTo>
                        <a:lnTo>
                          <a:pt x="1972" y="3745"/>
                        </a:lnTo>
                        <a:lnTo>
                          <a:pt x="1992" y="3815"/>
                        </a:lnTo>
                        <a:lnTo>
                          <a:pt x="2036" y="3817"/>
                        </a:lnTo>
                        <a:lnTo>
                          <a:pt x="2084" y="3823"/>
                        </a:lnTo>
                        <a:lnTo>
                          <a:pt x="2136" y="3831"/>
                        </a:lnTo>
                        <a:lnTo>
                          <a:pt x="2190" y="3843"/>
                        </a:lnTo>
                        <a:lnTo>
                          <a:pt x="2248" y="3857"/>
                        </a:lnTo>
                        <a:lnTo>
                          <a:pt x="2305" y="3877"/>
                        </a:lnTo>
                        <a:lnTo>
                          <a:pt x="2363" y="3899"/>
                        </a:lnTo>
                        <a:lnTo>
                          <a:pt x="2421" y="3929"/>
                        </a:lnTo>
                        <a:lnTo>
                          <a:pt x="2477" y="3963"/>
                        </a:lnTo>
                        <a:lnTo>
                          <a:pt x="2531" y="4003"/>
                        </a:lnTo>
                        <a:lnTo>
                          <a:pt x="2581" y="4050"/>
                        </a:lnTo>
                        <a:lnTo>
                          <a:pt x="2626" y="4104"/>
                        </a:lnTo>
                        <a:lnTo>
                          <a:pt x="2668" y="4166"/>
                        </a:lnTo>
                        <a:lnTo>
                          <a:pt x="2730" y="4118"/>
                        </a:lnTo>
                        <a:lnTo>
                          <a:pt x="2784" y="4062"/>
                        </a:lnTo>
                        <a:lnTo>
                          <a:pt x="2828" y="4001"/>
                        </a:lnTo>
                        <a:lnTo>
                          <a:pt x="2866" y="3933"/>
                        </a:lnTo>
                        <a:lnTo>
                          <a:pt x="2892" y="3861"/>
                        </a:lnTo>
                        <a:lnTo>
                          <a:pt x="2908" y="3785"/>
                        </a:lnTo>
                        <a:lnTo>
                          <a:pt x="2914" y="3706"/>
                        </a:lnTo>
                        <a:lnTo>
                          <a:pt x="2908" y="3630"/>
                        </a:lnTo>
                        <a:lnTo>
                          <a:pt x="2894" y="3554"/>
                        </a:lnTo>
                        <a:lnTo>
                          <a:pt x="2868" y="3482"/>
                        </a:lnTo>
                        <a:lnTo>
                          <a:pt x="2832" y="3415"/>
                        </a:lnTo>
                        <a:lnTo>
                          <a:pt x="2786" y="3353"/>
                        </a:lnTo>
                        <a:lnTo>
                          <a:pt x="2784" y="3351"/>
                        </a:lnTo>
                        <a:lnTo>
                          <a:pt x="2782" y="3347"/>
                        </a:lnTo>
                        <a:lnTo>
                          <a:pt x="2780" y="3343"/>
                        </a:lnTo>
                        <a:lnTo>
                          <a:pt x="2776" y="3339"/>
                        </a:lnTo>
                        <a:lnTo>
                          <a:pt x="2748" y="3299"/>
                        </a:lnTo>
                        <a:lnTo>
                          <a:pt x="2718" y="3267"/>
                        </a:lnTo>
                        <a:lnTo>
                          <a:pt x="2686" y="3241"/>
                        </a:lnTo>
                        <a:lnTo>
                          <a:pt x="2656" y="3223"/>
                        </a:lnTo>
                        <a:lnTo>
                          <a:pt x="2626" y="3209"/>
                        </a:lnTo>
                        <a:lnTo>
                          <a:pt x="2599" y="3201"/>
                        </a:lnTo>
                        <a:lnTo>
                          <a:pt x="2581" y="3263"/>
                        </a:lnTo>
                        <a:lnTo>
                          <a:pt x="2555" y="3325"/>
                        </a:lnTo>
                        <a:lnTo>
                          <a:pt x="2523" y="3381"/>
                        </a:lnTo>
                        <a:lnTo>
                          <a:pt x="2485" y="3434"/>
                        </a:lnTo>
                        <a:lnTo>
                          <a:pt x="2441" y="3484"/>
                        </a:lnTo>
                        <a:lnTo>
                          <a:pt x="2389" y="3526"/>
                        </a:lnTo>
                        <a:lnTo>
                          <a:pt x="2333" y="3564"/>
                        </a:lnTo>
                        <a:lnTo>
                          <a:pt x="2303" y="3578"/>
                        </a:lnTo>
                        <a:lnTo>
                          <a:pt x="2271" y="3582"/>
                        </a:lnTo>
                        <a:lnTo>
                          <a:pt x="2242" y="3578"/>
                        </a:lnTo>
                        <a:lnTo>
                          <a:pt x="2212" y="3566"/>
                        </a:lnTo>
                        <a:lnTo>
                          <a:pt x="2188" y="3548"/>
                        </a:lnTo>
                        <a:lnTo>
                          <a:pt x="2168" y="3522"/>
                        </a:lnTo>
                        <a:lnTo>
                          <a:pt x="2154" y="3494"/>
                        </a:lnTo>
                        <a:lnTo>
                          <a:pt x="2150" y="3462"/>
                        </a:lnTo>
                        <a:lnTo>
                          <a:pt x="2154" y="3433"/>
                        </a:lnTo>
                        <a:lnTo>
                          <a:pt x="2166" y="3405"/>
                        </a:lnTo>
                        <a:lnTo>
                          <a:pt x="2184" y="3379"/>
                        </a:lnTo>
                        <a:lnTo>
                          <a:pt x="2210" y="3359"/>
                        </a:lnTo>
                        <a:lnTo>
                          <a:pt x="2255" y="3327"/>
                        </a:lnTo>
                        <a:lnTo>
                          <a:pt x="2295" y="3285"/>
                        </a:lnTo>
                        <a:lnTo>
                          <a:pt x="2327" y="3239"/>
                        </a:lnTo>
                        <a:lnTo>
                          <a:pt x="2351" y="3189"/>
                        </a:lnTo>
                        <a:lnTo>
                          <a:pt x="2365" y="3134"/>
                        </a:lnTo>
                        <a:lnTo>
                          <a:pt x="2369" y="3078"/>
                        </a:lnTo>
                        <a:lnTo>
                          <a:pt x="2363" y="3020"/>
                        </a:lnTo>
                        <a:lnTo>
                          <a:pt x="2345" y="2966"/>
                        </a:lnTo>
                        <a:lnTo>
                          <a:pt x="2321" y="2914"/>
                        </a:lnTo>
                        <a:lnTo>
                          <a:pt x="2285" y="2870"/>
                        </a:lnTo>
                        <a:lnTo>
                          <a:pt x="2246" y="2833"/>
                        </a:lnTo>
                        <a:lnTo>
                          <a:pt x="2196" y="2801"/>
                        </a:lnTo>
                        <a:lnTo>
                          <a:pt x="2142" y="2779"/>
                        </a:lnTo>
                        <a:lnTo>
                          <a:pt x="2114" y="2765"/>
                        </a:lnTo>
                        <a:lnTo>
                          <a:pt x="2090" y="2745"/>
                        </a:lnTo>
                        <a:lnTo>
                          <a:pt x="2072" y="2719"/>
                        </a:lnTo>
                        <a:lnTo>
                          <a:pt x="2060" y="2691"/>
                        </a:lnTo>
                        <a:lnTo>
                          <a:pt x="2058" y="2659"/>
                        </a:lnTo>
                        <a:lnTo>
                          <a:pt x="2064" y="2629"/>
                        </a:lnTo>
                        <a:lnTo>
                          <a:pt x="2078" y="2599"/>
                        </a:lnTo>
                        <a:lnTo>
                          <a:pt x="2098" y="2577"/>
                        </a:lnTo>
                        <a:lnTo>
                          <a:pt x="2124" y="2559"/>
                        </a:lnTo>
                        <a:lnTo>
                          <a:pt x="2154" y="2549"/>
                        </a:lnTo>
                        <a:lnTo>
                          <a:pt x="2184" y="2545"/>
                        </a:lnTo>
                        <a:lnTo>
                          <a:pt x="2216" y="2551"/>
                        </a:lnTo>
                        <a:lnTo>
                          <a:pt x="2285" y="2579"/>
                        </a:lnTo>
                        <a:lnTo>
                          <a:pt x="2351" y="2613"/>
                        </a:lnTo>
                        <a:lnTo>
                          <a:pt x="2409" y="2657"/>
                        </a:lnTo>
                        <a:lnTo>
                          <a:pt x="2461" y="2707"/>
                        </a:lnTo>
                        <a:lnTo>
                          <a:pt x="2507" y="2763"/>
                        </a:lnTo>
                        <a:lnTo>
                          <a:pt x="2545" y="2823"/>
                        </a:lnTo>
                        <a:lnTo>
                          <a:pt x="2575" y="2888"/>
                        </a:lnTo>
                        <a:lnTo>
                          <a:pt x="2595" y="2958"/>
                        </a:lnTo>
                        <a:lnTo>
                          <a:pt x="2642" y="2966"/>
                        </a:lnTo>
                        <a:lnTo>
                          <a:pt x="2692" y="2980"/>
                        </a:lnTo>
                        <a:lnTo>
                          <a:pt x="2746" y="3002"/>
                        </a:lnTo>
                        <a:lnTo>
                          <a:pt x="2802" y="3032"/>
                        </a:lnTo>
                        <a:lnTo>
                          <a:pt x="2858" y="3070"/>
                        </a:lnTo>
                        <a:lnTo>
                          <a:pt x="2888" y="2984"/>
                        </a:lnTo>
                        <a:lnTo>
                          <a:pt x="2908" y="2894"/>
                        </a:lnTo>
                        <a:lnTo>
                          <a:pt x="2914" y="2803"/>
                        </a:lnTo>
                        <a:lnTo>
                          <a:pt x="2908" y="2717"/>
                        </a:lnTo>
                        <a:lnTo>
                          <a:pt x="2894" y="2635"/>
                        </a:lnTo>
                        <a:lnTo>
                          <a:pt x="2868" y="2555"/>
                        </a:lnTo>
                        <a:lnTo>
                          <a:pt x="2834" y="2480"/>
                        </a:lnTo>
                        <a:lnTo>
                          <a:pt x="2790" y="2408"/>
                        </a:lnTo>
                        <a:lnTo>
                          <a:pt x="2738" y="2342"/>
                        </a:lnTo>
                        <a:lnTo>
                          <a:pt x="2678" y="2282"/>
                        </a:lnTo>
                        <a:lnTo>
                          <a:pt x="2613" y="2231"/>
                        </a:lnTo>
                        <a:lnTo>
                          <a:pt x="2539" y="2187"/>
                        </a:lnTo>
                        <a:lnTo>
                          <a:pt x="2535" y="2183"/>
                        </a:lnTo>
                        <a:lnTo>
                          <a:pt x="2531" y="2181"/>
                        </a:lnTo>
                        <a:lnTo>
                          <a:pt x="2527" y="2179"/>
                        </a:lnTo>
                        <a:lnTo>
                          <a:pt x="2523" y="2177"/>
                        </a:lnTo>
                        <a:lnTo>
                          <a:pt x="2517" y="2171"/>
                        </a:lnTo>
                        <a:lnTo>
                          <a:pt x="2501" y="2163"/>
                        </a:lnTo>
                        <a:lnTo>
                          <a:pt x="2481" y="2149"/>
                        </a:lnTo>
                        <a:lnTo>
                          <a:pt x="2453" y="2135"/>
                        </a:lnTo>
                        <a:lnTo>
                          <a:pt x="2417" y="2121"/>
                        </a:lnTo>
                        <a:lnTo>
                          <a:pt x="2377" y="2105"/>
                        </a:lnTo>
                        <a:lnTo>
                          <a:pt x="2331" y="2091"/>
                        </a:lnTo>
                        <a:lnTo>
                          <a:pt x="2281" y="2079"/>
                        </a:lnTo>
                        <a:lnTo>
                          <a:pt x="2226" y="2073"/>
                        </a:lnTo>
                        <a:lnTo>
                          <a:pt x="2166" y="2069"/>
                        </a:lnTo>
                        <a:lnTo>
                          <a:pt x="2100" y="2073"/>
                        </a:lnTo>
                        <a:lnTo>
                          <a:pt x="2032" y="2083"/>
                        </a:lnTo>
                        <a:lnTo>
                          <a:pt x="1962" y="2103"/>
                        </a:lnTo>
                        <a:lnTo>
                          <a:pt x="1888" y="2131"/>
                        </a:lnTo>
                        <a:lnTo>
                          <a:pt x="1811" y="2171"/>
                        </a:lnTo>
                        <a:lnTo>
                          <a:pt x="1845" y="2233"/>
                        </a:lnTo>
                        <a:lnTo>
                          <a:pt x="1871" y="2298"/>
                        </a:lnTo>
                        <a:lnTo>
                          <a:pt x="1887" y="2366"/>
                        </a:lnTo>
                        <a:lnTo>
                          <a:pt x="1896" y="2436"/>
                        </a:lnTo>
                        <a:lnTo>
                          <a:pt x="1894" y="2506"/>
                        </a:lnTo>
                        <a:lnTo>
                          <a:pt x="1885" y="2575"/>
                        </a:lnTo>
                        <a:lnTo>
                          <a:pt x="1867" y="2643"/>
                        </a:lnTo>
                        <a:lnTo>
                          <a:pt x="1839" y="2709"/>
                        </a:lnTo>
                        <a:lnTo>
                          <a:pt x="1803" y="2771"/>
                        </a:lnTo>
                        <a:lnTo>
                          <a:pt x="1757" y="2831"/>
                        </a:lnTo>
                        <a:lnTo>
                          <a:pt x="1731" y="2852"/>
                        </a:lnTo>
                        <a:lnTo>
                          <a:pt x="1699" y="2866"/>
                        </a:lnTo>
                        <a:lnTo>
                          <a:pt x="1665" y="2870"/>
                        </a:lnTo>
                        <a:lnTo>
                          <a:pt x="1637" y="2868"/>
                        </a:lnTo>
                        <a:lnTo>
                          <a:pt x="1611" y="2858"/>
                        </a:lnTo>
                        <a:lnTo>
                          <a:pt x="1585" y="2840"/>
                        </a:lnTo>
                        <a:lnTo>
                          <a:pt x="1565" y="2817"/>
                        </a:lnTo>
                        <a:lnTo>
                          <a:pt x="1551" y="2789"/>
                        </a:lnTo>
                        <a:lnTo>
                          <a:pt x="1545" y="2759"/>
                        </a:lnTo>
                        <a:lnTo>
                          <a:pt x="1547" y="2729"/>
                        </a:lnTo>
                        <a:lnTo>
                          <a:pt x="1557" y="2699"/>
                        </a:lnTo>
                        <a:lnTo>
                          <a:pt x="1575" y="2673"/>
                        </a:lnTo>
                        <a:lnTo>
                          <a:pt x="1609" y="2627"/>
                        </a:lnTo>
                        <a:lnTo>
                          <a:pt x="1635" y="2575"/>
                        </a:lnTo>
                        <a:lnTo>
                          <a:pt x="1649" y="2522"/>
                        </a:lnTo>
                        <a:lnTo>
                          <a:pt x="1655" y="2468"/>
                        </a:lnTo>
                        <a:lnTo>
                          <a:pt x="1651" y="2414"/>
                        </a:lnTo>
                        <a:lnTo>
                          <a:pt x="1639" y="2360"/>
                        </a:lnTo>
                        <a:lnTo>
                          <a:pt x="1617" y="2310"/>
                        </a:lnTo>
                        <a:lnTo>
                          <a:pt x="1585" y="2262"/>
                        </a:lnTo>
                        <a:lnTo>
                          <a:pt x="1543" y="2221"/>
                        </a:lnTo>
                        <a:lnTo>
                          <a:pt x="1504" y="2191"/>
                        </a:lnTo>
                        <a:lnTo>
                          <a:pt x="1458" y="2167"/>
                        </a:lnTo>
                        <a:lnTo>
                          <a:pt x="1410" y="2151"/>
                        </a:lnTo>
                        <a:lnTo>
                          <a:pt x="1360" y="2143"/>
                        </a:lnTo>
                        <a:lnTo>
                          <a:pt x="1308" y="2143"/>
                        </a:lnTo>
                        <a:lnTo>
                          <a:pt x="1256" y="2149"/>
                        </a:lnTo>
                        <a:lnTo>
                          <a:pt x="1208" y="2165"/>
                        </a:lnTo>
                        <a:lnTo>
                          <a:pt x="1162" y="2187"/>
                        </a:lnTo>
                        <a:lnTo>
                          <a:pt x="1121" y="2215"/>
                        </a:lnTo>
                        <a:lnTo>
                          <a:pt x="1085" y="2250"/>
                        </a:lnTo>
                        <a:lnTo>
                          <a:pt x="1059" y="2272"/>
                        </a:lnTo>
                        <a:lnTo>
                          <a:pt x="1031" y="2284"/>
                        </a:lnTo>
                        <a:lnTo>
                          <a:pt x="1001" y="2290"/>
                        </a:lnTo>
                        <a:lnTo>
                          <a:pt x="969" y="2288"/>
                        </a:lnTo>
                        <a:lnTo>
                          <a:pt x="939" y="2278"/>
                        </a:lnTo>
                        <a:lnTo>
                          <a:pt x="913" y="2262"/>
                        </a:lnTo>
                        <a:lnTo>
                          <a:pt x="891" y="2238"/>
                        </a:lnTo>
                        <a:lnTo>
                          <a:pt x="877" y="2211"/>
                        </a:lnTo>
                        <a:lnTo>
                          <a:pt x="871" y="2181"/>
                        </a:lnTo>
                        <a:lnTo>
                          <a:pt x="873" y="2149"/>
                        </a:lnTo>
                        <a:lnTo>
                          <a:pt x="883" y="2121"/>
                        </a:lnTo>
                        <a:lnTo>
                          <a:pt x="901" y="2093"/>
                        </a:lnTo>
                        <a:lnTo>
                          <a:pt x="955" y="2041"/>
                        </a:lnTo>
                        <a:lnTo>
                          <a:pt x="1013" y="1997"/>
                        </a:lnTo>
                        <a:lnTo>
                          <a:pt x="1077" y="1959"/>
                        </a:lnTo>
                        <a:lnTo>
                          <a:pt x="1145" y="1932"/>
                        </a:lnTo>
                        <a:lnTo>
                          <a:pt x="1216" y="1914"/>
                        </a:lnTo>
                        <a:lnTo>
                          <a:pt x="1292" y="1904"/>
                        </a:lnTo>
                        <a:lnTo>
                          <a:pt x="1366" y="1904"/>
                        </a:lnTo>
                        <a:lnTo>
                          <a:pt x="1438" y="1914"/>
                        </a:lnTo>
                        <a:lnTo>
                          <a:pt x="1508" y="1932"/>
                        </a:lnTo>
                        <a:lnTo>
                          <a:pt x="1575" y="1959"/>
                        </a:lnTo>
                        <a:lnTo>
                          <a:pt x="1637" y="1995"/>
                        </a:lnTo>
                        <a:lnTo>
                          <a:pt x="1733" y="1939"/>
                        </a:lnTo>
                        <a:lnTo>
                          <a:pt x="1829" y="1898"/>
                        </a:lnTo>
                        <a:lnTo>
                          <a:pt x="1920" y="1866"/>
                        </a:lnTo>
                        <a:lnTo>
                          <a:pt x="2010" y="1846"/>
                        </a:lnTo>
                        <a:lnTo>
                          <a:pt x="2098" y="1834"/>
                        </a:lnTo>
                        <a:lnTo>
                          <a:pt x="2184" y="1832"/>
                        </a:lnTo>
                        <a:lnTo>
                          <a:pt x="2263" y="1836"/>
                        </a:lnTo>
                        <a:lnTo>
                          <a:pt x="2339" y="1848"/>
                        </a:lnTo>
                        <a:lnTo>
                          <a:pt x="2411" y="1864"/>
                        </a:lnTo>
                        <a:lnTo>
                          <a:pt x="2477" y="1886"/>
                        </a:lnTo>
                        <a:lnTo>
                          <a:pt x="2537" y="1910"/>
                        </a:lnTo>
                        <a:lnTo>
                          <a:pt x="2549" y="1856"/>
                        </a:lnTo>
                        <a:lnTo>
                          <a:pt x="2551" y="1802"/>
                        </a:lnTo>
                        <a:lnTo>
                          <a:pt x="2547" y="1736"/>
                        </a:lnTo>
                        <a:lnTo>
                          <a:pt x="2531" y="1672"/>
                        </a:lnTo>
                        <a:lnTo>
                          <a:pt x="2507" y="1613"/>
                        </a:lnTo>
                        <a:lnTo>
                          <a:pt x="2473" y="1559"/>
                        </a:lnTo>
                        <a:lnTo>
                          <a:pt x="2433" y="1509"/>
                        </a:lnTo>
                        <a:lnTo>
                          <a:pt x="2387" y="1467"/>
                        </a:lnTo>
                        <a:lnTo>
                          <a:pt x="2333" y="1431"/>
                        </a:lnTo>
                        <a:lnTo>
                          <a:pt x="2275" y="1401"/>
                        </a:lnTo>
                        <a:lnTo>
                          <a:pt x="2214" y="1383"/>
                        </a:lnTo>
                        <a:lnTo>
                          <a:pt x="2202" y="1423"/>
                        </a:lnTo>
                        <a:lnTo>
                          <a:pt x="2190" y="1465"/>
                        </a:lnTo>
                        <a:lnTo>
                          <a:pt x="2172" y="1509"/>
                        </a:lnTo>
                        <a:lnTo>
                          <a:pt x="2152" y="1553"/>
                        </a:lnTo>
                        <a:lnTo>
                          <a:pt x="2126" y="1595"/>
                        </a:lnTo>
                        <a:lnTo>
                          <a:pt x="2096" y="1635"/>
                        </a:lnTo>
                        <a:lnTo>
                          <a:pt x="2062" y="1670"/>
                        </a:lnTo>
                        <a:lnTo>
                          <a:pt x="2022" y="1700"/>
                        </a:lnTo>
                        <a:lnTo>
                          <a:pt x="1990" y="1714"/>
                        </a:lnTo>
                        <a:lnTo>
                          <a:pt x="1956" y="1720"/>
                        </a:lnTo>
                        <a:lnTo>
                          <a:pt x="1926" y="1716"/>
                        </a:lnTo>
                        <a:lnTo>
                          <a:pt x="1898" y="1704"/>
                        </a:lnTo>
                        <a:lnTo>
                          <a:pt x="1875" y="1688"/>
                        </a:lnTo>
                        <a:lnTo>
                          <a:pt x="1855" y="1664"/>
                        </a:lnTo>
                        <a:lnTo>
                          <a:pt x="1841" y="1637"/>
                        </a:lnTo>
                        <a:lnTo>
                          <a:pt x="1835" y="1605"/>
                        </a:lnTo>
                        <a:lnTo>
                          <a:pt x="1837" y="1575"/>
                        </a:lnTo>
                        <a:lnTo>
                          <a:pt x="1849" y="1547"/>
                        </a:lnTo>
                        <a:lnTo>
                          <a:pt x="1865" y="1521"/>
                        </a:lnTo>
                        <a:lnTo>
                          <a:pt x="1890" y="1499"/>
                        </a:lnTo>
                        <a:lnTo>
                          <a:pt x="1912" y="1479"/>
                        </a:lnTo>
                        <a:lnTo>
                          <a:pt x="1932" y="1449"/>
                        </a:lnTo>
                        <a:lnTo>
                          <a:pt x="1950" y="1413"/>
                        </a:lnTo>
                        <a:lnTo>
                          <a:pt x="1964" y="1375"/>
                        </a:lnTo>
                        <a:lnTo>
                          <a:pt x="1974" y="1334"/>
                        </a:lnTo>
                        <a:lnTo>
                          <a:pt x="1982" y="1296"/>
                        </a:lnTo>
                        <a:lnTo>
                          <a:pt x="1988" y="1260"/>
                        </a:lnTo>
                        <a:lnTo>
                          <a:pt x="1986" y="1252"/>
                        </a:lnTo>
                        <a:lnTo>
                          <a:pt x="1986" y="1244"/>
                        </a:lnTo>
                        <a:lnTo>
                          <a:pt x="1986" y="1234"/>
                        </a:lnTo>
                        <a:lnTo>
                          <a:pt x="1990" y="1174"/>
                        </a:lnTo>
                        <a:lnTo>
                          <a:pt x="1984" y="1108"/>
                        </a:lnTo>
                        <a:lnTo>
                          <a:pt x="1968" y="1044"/>
                        </a:lnTo>
                        <a:lnTo>
                          <a:pt x="1944" y="985"/>
                        </a:lnTo>
                        <a:lnTo>
                          <a:pt x="1910" y="929"/>
                        </a:lnTo>
                        <a:lnTo>
                          <a:pt x="1871" y="879"/>
                        </a:lnTo>
                        <a:lnTo>
                          <a:pt x="1823" y="837"/>
                        </a:lnTo>
                        <a:lnTo>
                          <a:pt x="1769" y="801"/>
                        </a:lnTo>
                        <a:lnTo>
                          <a:pt x="1711" y="773"/>
                        </a:lnTo>
                        <a:lnTo>
                          <a:pt x="1647" y="753"/>
                        </a:lnTo>
                        <a:lnTo>
                          <a:pt x="1641" y="811"/>
                        </a:lnTo>
                        <a:lnTo>
                          <a:pt x="1631" y="875"/>
                        </a:lnTo>
                        <a:lnTo>
                          <a:pt x="1617" y="945"/>
                        </a:lnTo>
                        <a:lnTo>
                          <a:pt x="1595" y="1017"/>
                        </a:lnTo>
                        <a:lnTo>
                          <a:pt x="1569" y="1088"/>
                        </a:lnTo>
                        <a:lnTo>
                          <a:pt x="1533" y="1162"/>
                        </a:lnTo>
                        <a:lnTo>
                          <a:pt x="1492" y="1232"/>
                        </a:lnTo>
                        <a:lnTo>
                          <a:pt x="1438" y="1298"/>
                        </a:lnTo>
                        <a:lnTo>
                          <a:pt x="1380" y="1353"/>
                        </a:lnTo>
                        <a:lnTo>
                          <a:pt x="1316" y="1401"/>
                        </a:lnTo>
                        <a:lnTo>
                          <a:pt x="1246" y="1441"/>
                        </a:lnTo>
                        <a:lnTo>
                          <a:pt x="1172" y="1473"/>
                        </a:lnTo>
                        <a:lnTo>
                          <a:pt x="1091" y="1495"/>
                        </a:lnTo>
                        <a:lnTo>
                          <a:pt x="1005" y="1509"/>
                        </a:lnTo>
                        <a:lnTo>
                          <a:pt x="973" y="1563"/>
                        </a:lnTo>
                        <a:lnTo>
                          <a:pt x="933" y="1609"/>
                        </a:lnTo>
                        <a:lnTo>
                          <a:pt x="887" y="1646"/>
                        </a:lnTo>
                        <a:lnTo>
                          <a:pt x="837" y="1678"/>
                        </a:lnTo>
                        <a:lnTo>
                          <a:pt x="782" y="1700"/>
                        </a:lnTo>
                        <a:lnTo>
                          <a:pt x="724" y="1714"/>
                        </a:lnTo>
                        <a:lnTo>
                          <a:pt x="662" y="1720"/>
                        </a:lnTo>
                        <a:lnTo>
                          <a:pt x="600" y="1714"/>
                        </a:lnTo>
                        <a:lnTo>
                          <a:pt x="536" y="1698"/>
                        </a:lnTo>
                        <a:lnTo>
                          <a:pt x="508" y="1684"/>
                        </a:lnTo>
                        <a:lnTo>
                          <a:pt x="484" y="1662"/>
                        </a:lnTo>
                        <a:lnTo>
                          <a:pt x="468" y="1637"/>
                        </a:lnTo>
                        <a:lnTo>
                          <a:pt x="458" y="1609"/>
                        </a:lnTo>
                        <a:lnTo>
                          <a:pt x="456" y="1579"/>
                        </a:lnTo>
                        <a:lnTo>
                          <a:pt x="462" y="1547"/>
                        </a:lnTo>
                        <a:lnTo>
                          <a:pt x="476" y="1519"/>
                        </a:lnTo>
                        <a:lnTo>
                          <a:pt x="498" y="1495"/>
                        </a:lnTo>
                        <a:lnTo>
                          <a:pt x="524" y="1479"/>
                        </a:lnTo>
                        <a:lnTo>
                          <a:pt x="554" y="1469"/>
                        </a:lnTo>
                        <a:lnTo>
                          <a:pt x="584" y="1467"/>
                        </a:lnTo>
                        <a:lnTo>
                          <a:pt x="618" y="1473"/>
                        </a:lnTo>
                        <a:lnTo>
                          <a:pt x="654" y="1481"/>
                        </a:lnTo>
                        <a:lnTo>
                          <a:pt x="690" y="1479"/>
                        </a:lnTo>
                        <a:lnTo>
                          <a:pt x="724" y="1467"/>
                        </a:lnTo>
                        <a:lnTo>
                          <a:pt x="754" y="1447"/>
                        </a:lnTo>
                        <a:lnTo>
                          <a:pt x="780" y="1421"/>
                        </a:lnTo>
                        <a:lnTo>
                          <a:pt x="795" y="1387"/>
                        </a:lnTo>
                        <a:lnTo>
                          <a:pt x="803" y="1351"/>
                        </a:lnTo>
                        <a:lnTo>
                          <a:pt x="801" y="1316"/>
                        </a:lnTo>
                        <a:lnTo>
                          <a:pt x="790" y="1284"/>
                        </a:lnTo>
                        <a:lnTo>
                          <a:pt x="770" y="1254"/>
                        </a:lnTo>
                        <a:lnTo>
                          <a:pt x="742" y="1230"/>
                        </a:lnTo>
                        <a:lnTo>
                          <a:pt x="710" y="1212"/>
                        </a:lnTo>
                        <a:lnTo>
                          <a:pt x="680" y="1198"/>
                        </a:lnTo>
                        <a:lnTo>
                          <a:pt x="656" y="1178"/>
                        </a:lnTo>
                        <a:lnTo>
                          <a:pt x="640" y="1152"/>
                        </a:lnTo>
                        <a:lnTo>
                          <a:pt x="630" y="1122"/>
                        </a:lnTo>
                        <a:lnTo>
                          <a:pt x="628" y="1092"/>
                        </a:lnTo>
                        <a:lnTo>
                          <a:pt x="634" y="1060"/>
                        </a:lnTo>
                        <a:lnTo>
                          <a:pt x="650" y="1033"/>
                        </a:lnTo>
                        <a:lnTo>
                          <a:pt x="670" y="1009"/>
                        </a:lnTo>
                        <a:lnTo>
                          <a:pt x="696" y="993"/>
                        </a:lnTo>
                        <a:lnTo>
                          <a:pt x="726" y="983"/>
                        </a:lnTo>
                        <a:lnTo>
                          <a:pt x="758" y="981"/>
                        </a:lnTo>
                        <a:lnTo>
                          <a:pt x="790" y="987"/>
                        </a:lnTo>
                        <a:lnTo>
                          <a:pt x="843" y="1011"/>
                        </a:lnTo>
                        <a:lnTo>
                          <a:pt x="891" y="1041"/>
                        </a:lnTo>
                        <a:lnTo>
                          <a:pt x="933" y="1076"/>
                        </a:lnTo>
                        <a:lnTo>
                          <a:pt x="969" y="1118"/>
                        </a:lnTo>
                        <a:lnTo>
                          <a:pt x="999" y="1164"/>
                        </a:lnTo>
                        <a:lnTo>
                          <a:pt x="1021" y="1212"/>
                        </a:lnTo>
                        <a:lnTo>
                          <a:pt x="1037" y="1266"/>
                        </a:lnTo>
                        <a:lnTo>
                          <a:pt x="1101" y="1246"/>
                        </a:lnTo>
                        <a:lnTo>
                          <a:pt x="1158" y="1218"/>
                        </a:lnTo>
                        <a:lnTo>
                          <a:pt x="1210" y="1184"/>
                        </a:lnTo>
                        <a:lnTo>
                          <a:pt x="1256" y="1140"/>
                        </a:lnTo>
                        <a:lnTo>
                          <a:pt x="1296" y="1088"/>
                        </a:lnTo>
                        <a:lnTo>
                          <a:pt x="1328" y="1033"/>
                        </a:lnTo>
                        <a:lnTo>
                          <a:pt x="1354" y="973"/>
                        </a:lnTo>
                        <a:lnTo>
                          <a:pt x="1374" y="915"/>
                        </a:lnTo>
                        <a:lnTo>
                          <a:pt x="1388" y="857"/>
                        </a:lnTo>
                        <a:lnTo>
                          <a:pt x="1398" y="801"/>
                        </a:lnTo>
                        <a:lnTo>
                          <a:pt x="1404" y="751"/>
                        </a:lnTo>
                        <a:lnTo>
                          <a:pt x="1408" y="708"/>
                        </a:lnTo>
                        <a:lnTo>
                          <a:pt x="1408" y="672"/>
                        </a:lnTo>
                        <a:lnTo>
                          <a:pt x="1408" y="646"/>
                        </a:lnTo>
                        <a:lnTo>
                          <a:pt x="1384" y="592"/>
                        </a:lnTo>
                        <a:lnTo>
                          <a:pt x="1354" y="544"/>
                        </a:lnTo>
                        <a:lnTo>
                          <a:pt x="1316" y="500"/>
                        </a:lnTo>
                        <a:lnTo>
                          <a:pt x="1272" y="464"/>
                        </a:lnTo>
                        <a:lnTo>
                          <a:pt x="1222" y="435"/>
                        </a:lnTo>
                        <a:lnTo>
                          <a:pt x="1168" y="413"/>
                        </a:lnTo>
                        <a:lnTo>
                          <a:pt x="1113" y="399"/>
                        </a:lnTo>
                        <a:lnTo>
                          <a:pt x="1053" y="395"/>
                        </a:lnTo>
                        <a:lnTo>
                          <a:pt x="1011" y="397"/>
                        </a:lnTo>
                        <a:lnTo>
                          <a:pt x="969" y="405"/>
                        </a:lnTo>
                        <a:lnTo>
                          <a:pt x="929" y="419"/>
                        </a:lnTo>
                        <a:lnTo>
                          <a:pt x="917" y="458"/>
                        </a:lnTo>
                        <a:lnTo>
                          <a:pt x="903" y="504"/>
                        </a:lnTo>
                        <a:lnTo>
                          <a:pt x="885" y="554"/>
                        </a:lnTo>
                        <a:lnTo>
                          <a:pt x="863" y="606"/>
                        </a:lnTo>
                        <a:lnTo>
                          <a:pt x="835" y="658"/>
                        </a:lnTo>
                        <a:lnTo>
                          <a:pt x="803" y="710"/>
                        </a:lnTo>
                        <a:lnTo>
                          <a:pt x="766" y="757"/>
                        </a:lnTo>
                        <a:lnTo>
                          <a:pt x="722" y="799"/>
                        </a:lnTo>
                        <a:lnTo>
                          <a:pt x="672" y="833"/>
                        </a:lnTo>
                        <a:lnTo>
                          <a:pt x="640" y="847"/>
                        </a:lnTo>
                        <a:lnTo>
                          <a:pt x="610" y="851"/>
                        </a:lnTo>
                        <a:lnTo>
                          <a:pt x="578" y="847"/>
                        </a:lnTo>
                        <a:lnTo>
                          <a:pt x="550" y="835"/>
                        </a:lnTo>
                        <a:lnTo>
                          <a:pt x="524" y="817"/>
                        </a:lnTo>
                        <a:lnTo>
                          <a:pt x="504" y="791"/>
                        </a:lnTo>
                        <a:lnTo>
                          <a:pt x="492" y="763"/>
                        </a:lnTo>
                        <a:lnTo>
                          <a:pt x="488" y="732"/>
                        </a:lnTo>
                        <a:lnTo>
                          <a:pt x="492" y="702"/>
                        </a:lnTo>
                        <a:lnTo>
                          <a:pt x="502" y="674"/>
                        </a:lnTo>
                        <a:lnTo>
                          <a:pt x="522" y="650"/>
                        </a:lnTo>
                        <a:lnTo>
                          <a:pt x="548" y="630"/>
                        </a:lnTo>
                        <a:lnTo>
                          <a:pt x="578" y="606"/>
                        </a:lnTo>
                        <a:lnTo>
                          <a:pt x="606" y="572"/>
                        </a:lnTo>
                        <a:lnTo>
                          <a:pt x="630" y="534"/>
                        </a:lnTo>
                        <a:lnTo>
                          <a:pt x="650" y="490"/>
                        </a:lnTo>
                        <a:lnTo>
                          <a:pt x="668" y="444"/>
                        </a:lnTo>
                        <a:lnTo>
                          <a:pt x="684" y="399"/>
                        </a:lnTo>
                        <a:lnTo>
                          <a:pt x="694" y="355"/>
                        </a:lnTo>
                        <a:lnTo>
                          <a:pt x="664" y="315"/>
                        </a:lnTo>
                        <a:lnTo>
                          <a:pt x="628" y="283"/>
                        </a:lnTo>
                        <a:lnTo>
                          <a:pt x="584" y="259"/>
                        </a:lnTo>
                        <a:lnTo>
                          <a:pt x="538" y="245"/>
                        </a:lnTo>
                        <a:lnTo>
                          <a:pt x="488" y="239"/>
                        </a:lnTo>
                        <a:close/>
                        <a:moveTo>
                          <a:pt x="488" y="0"/>
                        </a:moveTo>
                        <a:lnTo>
                          <a:pt x="562" y="6"/>
                        </a:lnTo>
                        <a:lnTo>
                          <a:pt x="634" y="22"/>
                        </a:lnTo>
                        <a:lnTo>
                          <a:pt x="702" y="50"/>
                        </a:lnTo>
                        <a:lnTo>
                          <a:pt x="766" y="86"/>
                        </a:lnTo>
                        <a:lnTo>
                          <a:pt x="821" y="130"/>
                        </a:lnTo>
                        <a:lnTo>
                          <a:pt x="871" y="183"/>
                        </a:lnTo>
                        <a:lnTo>
                          <a:pt x="931" y="167"/>
                        </a:lnTo>
                        <a:lnTo>
                          <a:pt x="991" y="159"/>
                        </a:lnTo>
                        <a:lnTo>
                          <a:pt x="1053" y="155"/>
                        </a:lnTo>
                        <a:lnTo>
                          <a:pt x="1133" y="161"/>
                        </a:lnTo>
                        <a:lnTo>
                          <a:pt x="1208" y="175"/>
                        </a:lnTo>
                        <a:lnTo>
                          <a:pt x="1282" y="199"/>
                        </a:lnTo>
                        <a:lnTo>
                          <a:pt x="1352" y="233"/>
                        </a:lnTo>
                        <a:lnTo>
                          <a:pt x="1418" y="273"/>
                        </a:lnTo>
                        <a:lnTo>
                          <a:pt x="1476" y="323"/>
                        </a:lnTo>
                        <a:lnTo>
                          <a:pt x="1529" y="377"/>
                        </a:lnTo>
                        <a:lnTo>
                          <a:pt x="1575" y="439"/>
                        </a:lnTo>
                        <a:lnTo>
                          <a:pt x="1613" y="506"/>
                        </a:lnTo>
                        <a:lnTo>
                          <a:pt x="1703" y="520"/>
                        </a:lnTo>
                        <a:lnTo>
                          <a:pt x="1789" y="546"/>
                        </a:lnTo>
                        <a:lnTo>
                          <a:pt x="1869" y="582"/>
                        </a:lnTo>
                        <a:lnTo>
                          <a:pt x="1942" y="626"/>
                        </a:lnTo>
                        <a:lnTo>
                          <a:pt x="2010" y="680"/>
                        </a:lnTo>
                        <a:lnTo>
                          <a:pt x="2072" y="742"/>
                        </a:lnTo>
                        <a:lnTo>
                          <a:pt x="2124" y="811"/>
                        </a:lnTo>
                        <a:lnTo>
                          <a:pt x="2166" y="885"/>
                        </a:lnTo>
                        <a:lnTo>
                          <a:pt x="2200" y="967"/>
                        </a:lnTo>
                        <a:lnTo>
                          <a:pt x="2222" y="1052"/>
                        </a:lnTo>
                        <a:lnTo>
                          <a:pt x="2232" y="1142"/>
                        </a:lnTo>
                        <a:lnTo>
                          <a:pt x="2317" y="1162"/>
                        </a:lnTo>
                        <a:lnTo>
                          <a:pt x="2397" y="1192"/>
                        </a:lnTo>
                        <a:lnTo>
                          <a:pt x="2473" y="1234"/>
                        </a:lnTo>
                        <a:lnTo>
                          <a:pt x="2543" y="1282"/>
                        </a:lnTo>
                        <a:lnTo>
                          <a:pt x="2605" y="1338"/>
                        </a:lnTo>
                        <a:lnTo>
                          <a:pt x="2658" y="1401"/>
                        </a:lnTo>
                        <a:lnTo>
                          <a:pt x="2706" y="1473"/>
                        </a:lnTo>
                        <a:lnTo>
                          <a:pt x="2744" y="1549"/>
                        </a:lnTo>
                        <a:lnTo>
                          <a:pt x="2770" y="1629"/>
                        </a:lnTo>
                        <a:lnTo>
                          <a:pt x="2788" y="1714"/>
                        </a:lnTo>
                        <a:lnTo>
                          <a:pt x="2794" y="1802"/>
                        </a:lnTo>
                        <a:lnTo>
                          <a:pt x="2790" y="1882"/>
                        </a:lnTo>
                        <a:lnTo>
                          <a:pt x="2776" y="1959"/>
                        </a:lnTo>
                        <a:lnTo>
                          <a:pt x="2752" y="2035"/>
                        </a:lnTo>
                        <a:lnTo>
                          <a:pt x="2832" y="2097"/>
                        </a:lnTo>
                        <a:lnTo>
                          <a:pt x="2904" y="2167"/>
                        </a:lnTo>
                        <a:lnTo>
                          <a:pt x="2970" y="2242"/>
                        </a:lnTo>
                        <a:lnTo>
                          <a:pt x="3023" y="2326"/>
                        </a:lnTo>
                        <a:lnTo>
                          <a:pt x="3071" y="2412"/>
                        </a:lnTo>
                        <a:lnTo>
                          <a:pt x="3107" y="2506"/>
                        </a:lnTo>
                        <a:lnTo>
                          <a:pt x="3135" y="2601"/>
                        </a:lnTo>
                        <a:lnTo>
                          <a:pt x="3151" y="2701"/>
                        </a:lnTo>
                        <a:lnTo>
                          <a:pt x="3157" y="2803"/>
                        </a:lnTo>
                        <a:lnTo>
                          <a:pt x="3151" y="2902"/>
                        </a:lnTo>
                        <a:lnTo>
                          <a:pt x="3135" y="2998"/>
                        </a:lnTo>
                        <a:lnTo>
                          <a:pt x="3109" y="3094"/>
                        </a:lnTo>
                        <a:lnTo>
                          <a:pt x="3073" y="3185"/>
                        </a:lnTo>
                        <a:lnTo>
                          <a:pt x="3027" y="3273"/>
                        </a:lnTo>
                        <a:lnTo>
                          <a:pt x="3073" y="3353"/>
                        </a:lnTo>
                        <a:lnTo>
                          <a:pt x="3109" y="3436"/>
                        </a:lnTo>
                        <a:lnTo>
                          <a:pt x="3135" y="3524"/>
                        </a:lnTo>
                        <a:lnTo>
                          <a:pt x="3151" y="3614"/>
                        </a:lnTo>
                        <a:lnTo>
                          <a:pt x="3157" y="3708"/>
                        </a:lnTo>
                        <a:lnTo>
                          <a:pt x="3151" y="3797"/>
                        </a:lnTo>
                        <a:lnTo>
                          <a:pt x="3135" y="3887"/>
                        </a:lnTo>
                        <a:lnTo>
                          <a:pt x="3111" y="3971"/>
                        </a:lnTo>
                        <a:lnTo>
                          <a:pt x="3077" y="4052"/>
                        </a:lnTo>
                        <a:lnTo>
                          <a:pt x="3033" y="4130"/>
                        </a:lnTo>
                        <a:lnTo>
                          <a:pt x="2981" y="4202"/>
                        </a:lnTo>
                        <a:lnTo>
                          <a:pt x="2924" y="4268"/>
                        </a:lnTo>
                        <a:lnTo>
                          <a:pt x="2856" y="4328"/>
                        </a:lnTo>
                        <a:lnTo>
                          <a:pt x="2782" y="4379"/>
                        </a:lnTo>
                        <a:lnTo>
                          <a:pt x="2824" y="4473"/>
                        </a:lnTo>
                        <a:lnTo>
                          <a:pt x="2854" y="4571"/>
                        </a:lnTo>
                        <a:lnTo>
                          <a:pt x="2872" y="4672"/>
                        </a:lnTo>
                        <a:lnTo>
                          <a:pt x="2878" y="4774"/>
                        </a:lnTo>
                        <a:lnTo>
                          <a:pt x="2872" y="4874"/>
                        </a:lnTo>
                        <a:lnTo>
                          <a:pt x="2856" y="4967"/>
                        </a:lnTo>
                        <a:lnTo>
                          <a:pt x="2830" y="5059"/>
                        </a:lnTo>
                        <a:lnTo>
                          <a:pt x="2794" y="5147"/>
                        </a:lnTo>
                        <a:lnTo>
                          <a:pt x="2750" y="5230"/>
                        </a:lnTo>
                        <a:lnTo>
                          <a:pt x="2696" y="5308"/>
                        </a:lnTo>
                        <a:lnTo>
                          <a:pt x="2636" y="5378"/>
                        </a:lnTo>
                        <a:lnTo>
                          <a:pt x="2569" y="5444"/>
                        </a:lnTo>
                        <a:lnTo>
                          <a:pt x="2493" y="5502"/>
                        </a:lnTo>
                        <a:lnTo>
                          <a:pt x="2411" y="5551"/>
                        </a:lnTo>
                        <a:lnTo>
                          <a:pt x="2325" y="5591"/>
                        </a:lnTo>
                        <a:lnTo>
                          <a:pt x="2232" y="5623"/>
                        </a:lnTo>
                        <a:lnTo>
                          <a:pt x="2224" y="5713"/>
                        </a:lnTo>
                        <a:lnTo>
                          <a:pt x="2206" y="5799"/>
                        </a:lnTo>
                        <a:lnTo>
                          <a:pt x="2176" y="5880"/>
                        </a:lnTo>
                        <a:lnTo>
                          <a:pt x="2136" y="5956"/>
                        </a:lnTo>
                        <a:lnTo>
                          <a:pt x="2086" y="6026"/>
                        </a:lnTo>
                        <a:lnTo>
                          <a:pt x="2028" y="6090"/>
                        </a:lnTo>
                        <a:lnTo>
                          <a:pt x="1962" y="6145"/>
                        </a:lnTo>
                        <a:lnTo>
                          <a:pt x="1890" y="6193"/>
                        </a:lnTo>
                        <a:lnTo>
                          <a:pt x="1813" y="6231"/>
                        </a:lnTo>
                        <a:lnTo>
                          <a:pt x="1729" y="6259"/>
                        </a:lnTo>
                        <a:lnTo>
                          <a:pt x="1641" y="6277"/>
                        </a:lnTo>
                        <a:lnTo>
                          <a:pt x="1549" y="6283"/>
                        </a:lnTo>
                        <a:lnTo>
                          <a:pt x="1478" y="6279"/>
                        </a:lnTo>
                        <a:lnTo>
                          <a:pt x="1408" y="6267"/>
                        </a:lnTo>
                        <a:lnTo>
                          <a:pt x="1338" y="6249"/>
                        </a:lnTo>
                        <a:lnTo>
                          <a:pt x="1272" y="6225"/>
                        </a:lnTo>
                        <a:lnTo>
                          <a:pt x="1228" y="6289"/>
                        </a:lnTo>
                        <a:lnTo>
                          <a:pt x="1178" y="6349"/>
                        </a:lnTo>
                        <a:lnTo>
                          <a:pt x="1121" y="6401"/>
                        </a:lnTo>
                        <a:lnTo>
                          <a:pt x="1059" y="6446"/>
                        </a:lnTo>
                        <a:lnTo>
                          <a:pt x="991" y="6484"/>
                        </a:lnTo>
                        <a:lnTo>
                          <a:pt x="919" y="6514"/>
                        </a:lnTo>
                        <a:lnTo>
                          <a:pt x="843" y="6538"/>
                        </a:lnTo>
                        <a:lnTo>
                          <a:pt x="766" y="6552"/>
                        </a:lnTo>
                        <a:lnTo>
                          <a:pt x="684" y="6556"/>
                        </a:lnTo>
                        <a:lnTo>
                          <a:pt x="590" y="6550"/>
                        </a:lnTo>
                        <a:lnTo>
                          <a:pt x="502" y="6532"/>
                        </a:lnTo>
                        <a:lnTo>
                          <a:pt x="419" y="6502"/>
                        </a:lnTo>
                        <a:lnTo>
                          <a:pt x="339" y="6464"/>
                        </a:lnTo>
                        <a:lnTo>
                          <a:pt x="267" y="6417"/>
                        </a:lnTo>
                        <a:lnTo>
                          <a:pt x="201" y="6359"/>
                        </a:lnTo>
                        <a:lnTo>
                          <a:pt x="143" y="6295"/>
                        </a:lnTo>
                        <a:lnTo>
                          <a:pt x="93" y="6223"/>
                        </a:lnTo>
                        <a:lnTo>
                          <a:pt x="54" y="6145"/>
                        </a:lnTo>
                        <a:lnTo>
                          <a:pt x="26" y="6064"/>
                        </a:lnTo>
                        <a:lnTo>
                          <a:pt x="8" y="5976"/>
                        </a:lnTo>
                        <a:lnTo>
                          <a:pt x="0" y="5884"/>
                        </a:lnTo>
                        <a:lnTo>
                          <a:pt x="0" y="5065"/>
                        </a:lnTo>
                        <a:lnTo>
                          <a:pt x="4" y="4991"/>
                        </a:lnTo>
                        <a:lnTo>
                          <a:pt x="16" y="4918"/>
                        </a:lnTo>
                        <a:lnTo>
                          <a:pt x="36" y="4848"/>
                        </a:lnTo>
                        <a:lnTo>
                          <a:pt x="62" y="4778"/>
                        </a:lnTo>
                        <a:lnTo>
                          <a:pt x="95" y="4712"/>
                        </a:lnTo>
                        <a:lnTo>
                          <a:pt x="54" y="4627"/>
                        </a:lnTo>
                        <a:lnTo>
                          <a:pt x="24" y="4539"/>
                        </a:lnTo>
                        <a:lnTo>
                          <a:pt x="6" y="4445"/>
                        </a:lnTo>
                        <a:lnTo>
                          <a:pt x="0" y="4349"/>
                        </a:lnTo>
                        <a:lnTo>
                          <a:pt x="0" y="3295"/>
                        </a:lnTo>
                        <a:lnTo>
                          <a:pt x="6" y="3203"/>
                        </a:lnTo>
                        <a:lnTo>
                          <a:pt x="24" y="3114"/>
                        </a:lnTo>
                        <a:lnTo>
                          <a:pt x="50" y="3028"/>
                        </a:lnTo>
                        <a:lnTo>
                          <a:pt x="87" y="2946"/>
                        </a:lnTo>
                        <a:lnTo>
                          <a:pt x="133" y="2870"/>
                        </a:lnTo>
                        <a:lnTo>
                          <a:pt x="187" y="2799"/>
                        </a:lnTo>
                        <a:lnTo>
                          <a:pt x="251" y="2735"/>
                        </a:lnTo>
                        <a:lnTo>
                          <a:pt x="189" y="2673"/>
                        </a:lnTo>
                        <a:lnTo>
                          <a:pt x="133" y="2605"/>
                        </a:lnTo>
                        <a:lnTo>
                          <a:pt x="87" y="2532"/>
                        </a:lnTo>
                        <a:lnTo>
                          <a:pt x="50" y="2452"/>
                        </a:lnTo>
                        <a:lnTo>
                          <a:pt x="24" y="2370"/>
                        </a:lnTo>
                        <a:lnTo>
                          <a:pt x="6" y="2282"/>
                        </a:lnTo>
                        <a:lnTo>
                          <a:pt x="0" y="2195"/>
                        </a:lnTo>
                        <a:lnTo>
                          <a:pt x="0" y="480"/>
                        </a:lnTo>
                        <a:lnTo>
                          <a:pt x="6" y="409"/>
                        </a:lnTo>
                        <a:lnTo>
                          <a:pt x="22" y="341"/>
                        </a:lnTo>
                        <a:lnTo>
                          <a:pt x="46" y="277"/>
                        </a:lnTo>
                        <a:lnTo>
                          <a:pt x="79" y="219"/>
                        </a:lnTo>
                        <a:lnTo>
                          <a:pt x="121" y="165"/>
                        </a:lnTo>
                        <a:lnTo>
                          <a:pt x="169" y="118"/>
                        </a:lnTo>
                        <a:lnTo>
                          <a:pt x="223" y="78"/>
                        </a:lnTo>
                        <a:lnTo>
                          <a:pt x="283" y="46"/>
                        </a:lnTo>
                        <a:lnTo>
                          <a:pt x="349" y="20"/>
                        </a:lnTo>
                        <a:lnTo>
                          <a:pt x="417" y="6"/>
                        </a:lnTo>
                        <a:lnTo>
                          <a:pt x="488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025" name="Freeform 31">
                    <a:extLst>
                      <a:ext uri="{FF2B5EF4-FFF2-40B4-BE49-F238E27FC236}">
                        <a16:creationId xmlns:a16="http://schemas.microsoft.com/office/drawing/2014/main" id="{D9F486D4-5ADD-8833-4CFF-E398D79DC8E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0374633" y="1122363"/>
                    <a:ext cx="2505076" cy="5203825"/>
                  </a:xfrm>
                  <a:custGeom>
                    <a:avLst/>
                    <a:gdLst>
                      <a:gd name="T0" fmla="*/ 2665 w 3155"/>
                      <a:gd name="T1" fmla="*/ 702 h 6556"/>
                      <a:gd name="T2" fmla="*/ 2252 w 3155"/>
                      <a:gd name="T3" fmla="*/ 504 h 6556"/>
                      <a:gd name="T4" fmla="*/ 1753 w 3155"/>
                      <a:gd name="T5" fmla="*/ 751 h 6556"/>
                      <a:gd name="T6" fmla="*/ 2266 w 3155"/>
                      <a:gd name="T7" fmla="*/ 1041 h 6556"/>
                      <a:gd name="T8" fmla="*/ 2387 w 3155"/>
                      <a:gd name="T9" fmla="*/ 1254 h 6556"/>
                      <a:gd name="T10" fmla="*/ 2695 w 3155"/>
                      <a:gd name="T11" fmla="*/ 1547 h 6556"/>
                      <a:gd name="T12" fmla="*/ 2066 w 3155"/>
                      <a:gd name="T13" fmla="*/ 1495 h 6556"/>
                      <a:gd name="T14" fmla="*/ 1334 w 3155"/>
                      <a:gd name="T15" fmla="*/ 837 h 6556"/>
                      <a:gd name="T16" fmla="*/ 1245 w 3155"/>
                      <a:gd name="T17" fmla="*/ 1479 h 6556"/>
                      <a:gd name="T18" fmla="*/ 1031 w 3155"/>
                      <a:gd name="T19" fmla="*/ 1595 h 6556"/>
                      <a:gd name="T20" fmla="*/ 618 w 3155"/>
                      <a:gd name="T21" fmla="*/ 1910 h 6556"/>
                      <a:gd name="T22" fmla="*/ 1865 w 3155"/>
                      <a:gd name="T23" fmla="*/ 1904 h 6556"/>
                      <a:gd name="T24" fmla="*/ 2126 w 3155"/>
                      <a:gd name="T25" fmla="*/ 2284 h 6556"/>
                      <a:gd name="T26" fmla="*/ 1504 w 3155"/>
                      <a:gd name="T27" fmla="*/ 2414 h 6556"/>
                      <a:gd name="T28" fmla="*/ 1426 w 3155"/>
                      <a:gd name="T29" fmla="*/ 2852 h 6556"/>
                      <a:gd name="T30" fmla="*/ 991 w 3155"/>
                      <a:gd name="T31" fmla="*/ 2069 h 6556"/>
                      <a:gd name="T32" fmla="*/ 477 w 3155"/>
                      <a:gd name="T33" fmla="*/ 2282 h 6556"/>
                      <a:gd name="T34" fmla="*/ 582 w 3155"/>
                      <a:gd name="T35" fmla="*/ 2888 h 6556"/>
                      <a:gd name="T36" fmla="*/ 1085 w 3155"/>
                      <a:gd name="T37" fmla="*/ 2719 h 6556"/>
                      <a:gd name="T38" fmla="*/ 947 w 3155"/>
                      <a:gd name="T39" fmla="*/ 3361 h 6556"/>
                      <a:gd name="T40" fmla="*/ 632 w 3155"/>
                      <a:gd name="T41" fmla="*/ 3383 h 6556"/>
                      <a:gd name="T42" fmla="*/ 263 w 3155"/>
                      <a:gd name="T43" fmla="*/ 3554 h 6556"/>
                      <a:gd name="T44" fmla="*/ 852 w 3155"/>
                      <a:gd name="T45" fmla="*/ 3877 h 6556"/>
                      <a:gd name="T46" fmla="*/ 1514 w 3155"/>
                      <a:gd name="T47" fmla="*/ 3431 h 6556"/>
                      <a:gd name="T48" fmla="*/ 1410 w 3155"/>
                      <a:gd name="T49" fmla="*/ 4110 h 6556"/>
                      <a:gd name="T50" fmla="*/ 2256 w 3155"/>
                      <a:gd name="T51" fmla="*/ 4110 h 6556"/>
                      <a:gd name="T52" fmla="*/ 1807 w 3155"/>
                      <a:gd name="T53" fmla="*/ 3433 h 6556"/>
                      <a:gd name="T54" fmla="*/ 2010 w 3155"/>
                      <a:gd name="T55" fmla="*/ 3054 h 6556"/>
                      <a:gd name="T56" fmla="*/ 2423 w 3155"/>
                      <a:gd name="T57" fmla="*/ 3371 h 6556"/>
                      <a:gd name="T58" fmla="*/ 2639 w 3155"/>
                      <a:gd name="T59" fmla="*/ 3488 h 6556"/>
                      <a:gd name="T60" fmla="*/ 2180 w 3155"/>
                      <a:gd name="T61" fmla="*/ 4557 h 6556"/>
                      <a:gd name="T62" fmla="*/ 1151 w 3155"/>
                      <a:gd name="T63" fmla="*/ 4054 h 6556"/>
                      <a:gd name="T64" fmla="*/ 642 w 3155"/>
                      <a:gd name="T65" fmla="*/ 4401 h 6556"/>
                      <a:gd name="T66" fmla="*/ 937 w 3155"/>
                      <a:gd name="T67" fmla="*/ 5376 h 6556"/>
                      <a:gd name="T68" fmla="*/ 1286 w 3155"/>
                      <a:gd name="T69" fmla="*/ 4967 h 6556"/>
                      <a:gd name="T70" fmla="*/ 1177 w 3155"/>
                      <a:gd name="T71" fmla="*/ 5410 h 6556"/>
                      <a:gd name="T72" fmla="*/ 1404 w 3155"/>
                      <a:gd name="T73" fmla="*/ 5996 h 6556"/>
                      <a:gd name="T74" fmla="*/ 1853 w 3155"/>
                      <a:gd name="T75" fmla="*/ 5378 h 6556"/>
                      <a:gd name="T76" fmla="*/ 2116 w 3155"/>
                      <a:gd name="T77" fmla="*/ 5045 h 6556"/>
                      <a:gd name="T78" fmla="*/ 2326 w 3155"/>
                      <a:gd name="T79" fmla="*/ 5342 h 6556"/>
                      <a:gd name="T80" fmla="*/ 2401 w 3155"/>
                      <a:gd name="T81" fmla="*/ 5577 h 6556"/>
                      <a:gd name="T82" fmla="*/ 2020 w 3155"/>
                      <a:gd name="T83" fmla="*/ 5962 h 6556"/>
                      <a:gd name="T84" fmla="*/ 2473 w 3155"/>
                      <a:gd name="T85" fmla="*/ 6317 h 6556"/>
                      <a:gd name="T86" fmla="*/ 2788 w 3155"/>
                      <a:gd name="T87" fmla="*/ 4949 h 6556"/>
                      <a:gd name="T88" fmla="*/ 2260 w 3155"/>
                      <a:gd name="T89" fmla="*/ 4830 h 6556"/>
                      <a:gd name="T90" fmla="*/ 2890 w 3155"/>
                      <a:gd name="T91" fmla="*/ 4503 h 6556"/>
                      <a:gd name="T92" fmla="*/ 2611 w 3155"/>
                      <a:gd name="T93" fmla="*/ 2821 h 6556"/>
                      <a:gd name="T94" fmla="*/ 1959 w 3155"/>
                      <a:gd name="T95" fmla="*/ 2878 h 6556"/>
                      <a:gd name="T96" fmla="*/ 2589 w 3155"/>
                      <a:gd name="T97" fmla="*/ 2551 h 6556"/>
                      <a:gd name="T98" fmla="*/ 2804 w 3155"/>
                      <a:gd name="T99" fmla="*/ 281 h 6556"/>
                      <a:gd name="T100" fmla="*/ 3155 w 3155"/>
                      <a:gd name="T101" fmla="*/ 2195 h 6556"/>
                      <a:gd name="T102" fmla="*/ 3149 w 3155"/>
                      <a:gd name="T103" fmla="*/ 4445 h 6556"/>
                      <a:gd name="T104" fmla="*/ 2890 w 3155"/>
                      <a:gd name="T105" fmla="*/ 6417 h 6556"/>
                      <a:gd name="T106" fmla="*/ 1749 w 3155"/>
                      <a:gd name="T107" fmla="*/ 6269 h 6556"/>
                      <a:gd name="T108" fmla="*/ 744 w 3155"/>
                      <a:gd name="T109" fmla="*/ 5551 h 6556"/>
                      <a:gd name="T110" fmla="*/ 233 w 3155"/>
                      <a:gd name="T111" fmla="*/ 4268 h 6556"/>
                      <a:gd name="T112" fmla="*/ 6 w 3155"/>
                      <a:gd name="T113" fmla="*/ 2902 h 6556"/>
                      <a:gd name="T114" fmla="*/ 413 w 3155"/>
                      <a:gd name="T115" fmla="*/ 1549 h 6556"/>
                      <a:gd name="T116" fmla="*/ 1288 w 3155"/>
                      <a:gd name="T117" fmla="*/ 582 h 6556"/>
                      <a:gd name="T118" fmla="*/ 2336 w 3155"/>
                      <a:gd name="T119" fmla="*/ 130 h 65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3155" h="6556">
                        <a:moveTo>
                          <a:pt x="2669" y="239"/>
                        </a:moveTo>
                        <a:lnTo>
                          <a:pt x="2619" y="243"/>
                        </a:lnTo>
                        <a:lnTo>
                          <a:pt x="2571" y="259"/>
                        </a:lnTo>
                        <a:lnTo>
                          <a:pt x="2529" y="283"/>
                        </a:lnTo>
                        <a:lnTo>
                          <a:pt x="2493" y="315"/>
                        </a:lnTo>
                        <a:lnTo>
                          <a:pt x="2461" y="355"/>
                        </a:lnTo>
                        <a:lnTo>
                          <a:pt x="2473" y="399"/>
                        </a:lnTo>
                        <a:lnTo>
                          <a:pt x="2487" y="444"/>
                        </a:lnTo>
                        <a:lnTo>
                          <a:pt x="2505" y="490"/>
                        </a:lnTo>
                        <a:lnTo>
                          <a:pt x="2527" y="534"/>
                        </a:lnTo>
                        <a:lnTo>
                          <a:pt x="2551" y="572"/>
                        </a:lnTo>
                        <a:lnTo>
                          <a:pt x="2579" y="606"/>
                        </a:lnTo>
                        <a:lnTo>
                          <a:pt x="2609" y="630"/>
                        </a:lnTo>
                        <a:lnTo>
                          <a:pt x="2635" y="648"/>
                        </a:lnTo>
                        <a:lnTo>
                          <a:pt x="2653" y="674"/>
                        </a:lnTo>
                        <a:lnTo>
                          <a:pt x="2665" y="702"/>
                        </a:lnTo>
                        <a:lnTo>
                          <a:pt x="2669" y="732"/>
                        </a:lnTo>
                        <a:lnTo>
                          <a:pt x="2665" y="763"/>
                        </a:lnTo>
                        <a:lnTo>
                          <a:pt x="2651" y="791"/>
                        </a:lnTo>
                        <a:lnTo>
                          <a:pt x="2631" y="817"/>
                        </a:lnTo>
                        <a:lnTo>
                          <a:pt x="2607" y="835"/>
                        </a:lnTo>
                        <a:lnTo>
                          <a:pt x="2577" y="847"/>
                        </a:lnTo>
                        <a:lnTo>
                          <a:pt x="2547" y="851"/>
                        </a:lnTo>
                        <a:lnTo>
                          <a:pt x="2515" y="847"/>
                        </a:lnTo>
                        <a:lnTo>
                          <a:pt x="2485" y="833"/>
                        </a:lnTo>
                        <a:lnTo>
                          <a:pt x="2435" y="799"/>
                        </a:lnTo>
                        <a:lnTo>
                          <a:pt x="2391" y="757"/>
                        </a:lnTo>
                        <a:lnTo>
                          <a:pt x="2354" y="710"/>
                        </a:lnTo>
                        <a:lnTo>
                          <a:pt x="2320" y="658"/>
                        </a:lnTo>
                        <a:lnTo>
                          <a:pt x="2294" y="606"/>
                        </a:lnTo>
                        <a:lnTo>
                          <a:pt x="2272" y="554"/>
                        </a:lnTo>
                        <a:lnTo>
                          <a:pt x="2252" y="504"/>
                        </a:lnTo>
                        <a:lnTo>
                          <a:pt x="2238" y="458"/>
                        </a:lnTo>
                        <a:lnTo>
                          <a:pt x="2228" y="419"/>
                        </a:lnTo>
                        <a:lnTo>
                          <a:pt x="2188" y="405"/>
                        </a:lnTo>
                        <a:lnTo>
                          <a:pt x="2146" y="397"/>
                        </a:lnTo>
                        <a:lnTo>
                          <a:pt x="2104" y="395"/>
                        </a:lnTo>
                        <a:lnTo>
                          <a:pt x="2044" y="399"/>
                        </a:lnTo>
                        <a:lnTo>
                          <a:pt x="1987" y="413"/>
                        </a:lnTo>
                        <a:lnTo>
                          <a:pt x="1935" y="435"/>
                        </a:lnTo>
                        <a:lnTo>
                          <a:pt x="1885" y="464"/>
                        </a:lnTo>
                        <a:lnTo>
                          <a:pt x="1841" y="500"/>
                        </a:lnTo>
                        <a:lnTo>
                          <a:pt x="1803" y="544"/>
                        </a:lnTo>
                        <a:lnTo>
                          <a:pt x="1771" y="592"/>
                        </a:lnTo>
                        <a:lnTo>
                          <a:pt x="1749" y="646"/>
                        </a:lnTo>
                        <a:lnTo>
                          <a:pt x="1749" y="672"/>
                        </a:lnTo>
                        <a:lnTo>
                          <a:pt x="1749" y="708"/>
                        </a:lnTo>
                        <a:lnTo>
                          <a:pt x="1753" y="751"/>
                        </a:lnTo>
                        <a:lnTo>
                          <a:pt x="1759" y="801"/>
                        </a:lnTo>
                        <a:lnTo>
                          <a:pt x="1767" y="857"/>
                        </a:lnTo>
                        <a:lnTo>
                          <a:pt x="1783" y="915"/>
                        </a:lnTo>
                        <a:lnTo>
                          <a:pt x="1801" y="973"/>
                        </a:lnTo>
                        <a:lnTo>
                          <a:pt x="1827" y="1033"/>
                        </a:lnTo>
                        <a:lnTo>
                          <a:pt x="1861" y="1088"/>
                        </a:lnTo>
                        <a:lnTo>
                          <a:pt x="1901" y="1140"/>
                        </a:lnTo>
                        <a:lnTo>
                          <a:pt x="1947" y="1184"/>
                        </a:lnTo>
                        <a:lnTo>
                          <a:pt x="1999" y="1218"/>
                        </a:lnTo>
                        <a:lnTo>
                          <a:pt x="2056" y="1246"/>
                        </a:lnTo>
                        <a:lnTo>
                          <a:pt x="2120" y="1266"/>
                        </a:lnTo>
                        <a:lnTo>
                          <a:pt x="2136" y="1212"/>
                        </a:lnTo>
                        <a:lnTo>
                          <a:pt x="2158" y="1164"/>
                        </a:lnTo>
                        <a:lnTo>
                          <a:pt x="2188" y="1118"/>
                        </a:lnTo>
                        <a:lnTo>
                          <a:pt x="2224" y="1076"/>
                        </a:lnTo>
                        <a:lnTo>
                          <a:pt x="2266" y="1041"/>
                        </a:lnTo>
                        <a:lnTo>
                          <a:pt x="2314" y="1011"/>
                        </a:lnTo>
                        <a:lnTo>
                          <a:pt x="2368" y="987"/>
                        </a:lnTo>
                        <a:lnTo>
                          <a:pt x="2399" y="981"/>
                        </a:lnTo>
                        <a:lnTo>
                          <a:pt x="2431" y="983"/>
                        </a:lnTo>
                        <a:lnTo>
                          <a:pt x="2459" y="993"/>
                        </a:lnTo>
                        <a:lnTo>
                          <a:pt x="2485" y="1009"/>
                        </a:lnTo>
                        <a:lnTo>
                          <a:pt x="2507" y="1033"/>
                        </a:lnTo>
                        <a:lnTo>
                          <a:pt x="2521" y="1060"/>
                        </a:lnTo>
                        <a:lnTo>
                          <a:pt x="2529" y="1092"/>
                        </a:lnTo>
                        <a:lnTo>
                          <a:pt x="2527" y="1122"/>
                        </a:lnTo>
                        <a:lnTo>
                          <a:pt x="2517" y="1152"/>
                        </a:lnTo>
                        <a:lnTo>
                          <a:pt x="2499" y="1178"/>
                        </a:lnTo>
                        <a:lnTo>
                          <a:pt x="2477" y="1198"/>
                        </a:lnTo>
                        <a:lnTo>
                          <a:pt x="2447" y="1212"/>
                        </a:lnTo>
                        <a:lnTo>
                          <a:pt x="2413" y="1230"/>
                        </a:lnTo>
                        <a:lnTo>
                          <a:pt x="2387" y="1254"/>
                        </a:lnTo>
                        <a:lnTo>
                          <a:pt x="2368" y="1284"/>
                        </a:lnTo>
                        <a:lnTo>
                          <a:pt x="2356" y="1316"/>
                        </a:lnTo>
                        <a:lnTo>
                          <a:pt x="2354" y="1351"/>
                        </a:lnTo>
                        <a:lnTo>
                          <a:pt x="2362" y="1387"/>
                        </a:lnTo>
                        <a:lnTo>
                          <a:pt x="2377" y="1421"/>
                        </a:lnTo>
                        <a:lnTo>
                          <a:pt x="2401" y="1447"/>
                        </a:lnTo>
                        <a:lnTo>
                          <a:pt x="2431" y="1467"/>
                        </a:lnTo>
                        <a:lnTo>
                          <a:pt x="2467" y="1479"/>
                        </a:lnTo>
                        <a:lnTo>
                          <a:pt x="2503" y="1481"/>
                        </a:lnTo>
                        <a:lnTo>
                          <a:pt x="2539" y="1473"/>
                        </a:lnTo>
                        <a:lnTo>
                          <a:pt x="2571" y="1467"/>
                        </a:lnTo>
                        <a:lnTo>
                          <a:pt x="2603" y="1469"/>
                        </a:lnTo>
                        <a:lnTo>
                          <a:pt x="2633" y="1479"/>
                        </a:lnTo>
                        <a:lnTo>
                          <a:pt x="2659" y="1495"/>
                        </a:lnTo>
                        <a:lnTo>
                          <a:pt x="2679" y="1519"/>
                        </a:lnTo>
                        <a:lnTo>
                          <a:pt x="2695" y="1547"/>
                        </a:lnTo>
                        <a:lnTo>
                          <a:pt x="2701" y="1579"/>
                        </a:lnTo>
                        <a:lnTo>
                          <a:pt x="2699" y="1609"/>
                        </a:lnTo>
                        <a:lnTo>
                          <a:pt x="2689" y="1639"/>
                        </a:lnTo>
                        <a:lnTo>
                          <a:pt x="2673" y="1662"/>
                        </a:lnTo>
                        <a:lnTo>
                          <a:pt x="2649" y="1684"/>
                        </a:lnTo>
                        <a:lnTo>
                          <a:pt x="2619" y="1698"/>
                        </a:lnTo>
                        <a:lnTo>
                          <a:pt x="2557" y="1714"/>
                        </a:lnTo>
                        <a:lnTo>
                          <a:pt x="2493" y="1720"/>
                        </a:lnTo>
                        <a:lnTo>
                          <a:pt x="2433" y="1714"/>
                        </a:lnTo>
                        <a:lnTo>
                          <a:pt x="2375" y="1700"/>
                        </a:lnTo>
                        <a:lnTo>
                          <a:pt x="2320" y="1678"/>
                        </a:lnTo>
                        <a:lnTo>
                          <a:pt x="2268" y="1646"/>
                        </a:lnTo>
                        <a:lnTo>
                          <a:pt x="2222" y="1609"/>
                        </a:lnTo>
                        <a:lnTo>
                          <a:pt x="2184" y="1563"/>
                        </a:lnTo>
                        <a:lnTo>
                          <a:pt x="2150" y="1509"/>
                        </a:lnTo>
                        <a:lnTo>
                          <a:pt x="2066" y="1495"/>
                        </a:lnTo>
                        <a:lnTo>
                          <a:pt x="1985" y="1473"/>
                        </a:lnTo>
                        <a:lnTo>
                          <a:pt x="1911" y="1441"/>
                        </a:lnTo>
                        <a:lnTo>
                          <a:pt x="1841" y="1401"/>
                        </a:lnTo>
                        <a:lnTo>
                          <a:pt x="1777" y="1353"/>
                        </a:lnTo>
                        <a:lnTo>
                          <a:pt x="1719" y="1298"/>
                        </a:lnTo>
                        <a:lnTo>
                          <a:pt x="1665" y="1232"/>
                        </a:lnTo>
                        <a:lnTo>
                          <a:pt x="1622" y="1162"/>
                        </a:lnTo>
                        <a:lnTo>
                          <a:pt x="1588" y="1088"/>
                        </a:lnTo>
                        <a:lnTo>
                          <a:pt x="1560" y="1017"/>
                        </a:lnTo>
                        <a:lnTo>
                          <a:pt x="1540" y="945"/>
                        </a:lnTo>
                        <a:lnTo>
                          <a:pt x="1526" y="875"/>
                        </a:lnTo>
                        <a:lnTo>
                          <a:pt x="1516" y="811"/>
                        </a:lnTo>
                        <a:lnTo>
                          <a:pt x="1510" y="753"/>
                        </a:lnTo>
                        <a:lnTo>
                          <a:pt x="1446" y="773"/>
                        </a:lnTo>
                        <a:lnTo>
                          <a:pt x="1388" y="801"/>
                        </a:lnTo>
                        <a:lnTo>
                          <a:pt x="1334" y="837"/>
                        </a:lnTo>
                        <a:lnTo>
                          <a:pt x="1286" y="879"/>
                        </a:lnTo>
                        <a:lnTo>
                          <a:pt x="1245" y="929"/>
                        </a:lnTo>
                        <a:lnTo>
                          <a:pt x="1213" y="985"/>
                        </a:lnTo>
                        <a:lnTo>
                          <a:pt x="1187" y="1044"/>
                        </a:lnTo>
                        <a:lnTo>
                          <a:pt x="1173" y="1108"/>
                        </a:lnTo>
                        <a:lnTo>
                          <a:pt x="1167" y="1174"/>
                        </a:lnTo>
                        <a:lnTo>
                          <a:pt x="1171" y="1234"/>
                        </a:lnTo>
                        <a:lnTo>
                          <a:pt x="1171" y="1244"/>
                        </a:lnTo>
                        <a:lnTo>
                          <a:pt x="1171" y="1252"/>
                        </a:lnTo>
                        <a:lnTo>
                          <a:pt x="1169" y="1260"/>
                        </a:lnTo>
                        <a:lnTo>
                          <a:pt x="1173" y="1296"/>
                        </a:lnTo>
                        <a:lnTo>
                          <a:pt x="1181" y="1334"/>
                        </a:lnTo>
                        <a:lnTo>
                          <a:pt x="1193" y="1375"/>
                        </a:lnTo>
                        <a:lnTo>
                          <a:pt x="1207" y="1413"/>
                        </a:lnTo>
                        <a:lnTo>
                          <a:pt x="1225" y="1449"/>
                        </a:lnTo>
                        <a:lnTo>
                          <a:pt x="1245" y="1479"/>
                        </a:lnTo>
                        <a:lnTo>
                          <a:pt x="1267" y="1501"/>
                        </a:lnTo>
                        <a:lnTo>
                          <a:pt x="1290" y="1521"/>
                        </a:lnTo>
                        <a:lnTo>
                          <a:pt x="1308" y="1547"/>
                        </a:lnTo>
                        <a:lnTo>
                          <a:pt x="1318" y="1575"/>
                        </a:lnTo>
                        <a:lnTo>
                          <a:pt x="1322" y="1605"/>
                        </a:lnTo>
                        <a:lnTo>
                          <a:pt x="1316" y="1637"/>
                        </a:lnTo>
                        <a:lnTo>
                          <a:pt x="1302" y="1664"/>
                        </a:lnTo>
                        <a:lnTo>
                          <a:pt x="1282" y="1688"/>
                        </a:lnTo>
                        <a:lnTo>
                          <a:pt x="1259" y="1704"/>
                        </a:lnTo>
                        <a:lnTo>
                          <a:pt x="1231" y="1716"/>
                        </a:lnTo>
                        <a:lnTo>
                          <a:pt x="1201" y="1720"/>
                        </a:lnTo>
                        <a:lnTo>
                          <a:pt x="1167" y="1714"/>
                        </a:lnTo>
                        <a:lnTo>
                          <a:pt x="1135" y="1700"/>
                        </a:lnTo>
                        <a:lnTo>
                          <a:pt x="1095" y="1670"/>
                        </a:lnTo>
                        <a:lnTo>
                          <a:pt x="1059" y="1635"/>
                        </a:lnTo>
                        <a:lnTo>
                          <a:pt x="1031" y="1595"/>
                        </a:lnTo>
                        <a:lnTo>
                          <a:pt x="1005" y="1553"/>
                        </a:lnTo>
                        <a:lnTo>
                          <a:pt x="985" y="1509"/>
                        </a:lnTo>
                        <a:lnTo>
                          <a:pt x="967" y="1465"/>
                        </a:lnTo>
                        <a:lnTo>
                          <a:pt x="953" y="1423"/>
                        </a:lnTo>
                        <a:lnTo>
                          <a:pt x="943" y="1383"/>
                        </a:lnTo>
                        <a:lnTo>
                          <a:pt x="882" y="1401"/>
                        </a:lnTo>
                        <a:lnTo>
                          <a:pt x="824" y="1431"/>
                        </a:lnTo>
                        <a:lnTo>
                          <a:pt x="770" y="1467"/>
                        </a:lnTo>
                        <a:lnTo>
                          <a:pt x="722" y="1509"/>
                        </a:lnTo>
                        <a:lnTo>
                          <a:pt x="682" y="1559"/>
                        </a:lnTo>
                        <a:lnTo>
                          <a:pt x="650" y="1613"/>
                        </a:lnTo>
                        <a:lnTo>
                          <a:pt x="626" y="1672"/>
                        </a:lnTo>
                        <a:lnTo>
                          <a:pt x="610" y="1736"/>
                        </a:lnTo>
                        <a:lnTo>
                          <a:pt x="604" y="1802"/>
                        </a:lnTo>
                        <a:lnTo>
                          <a:pt x="608" y="1856"/>
                        </a:lnTo>
                        <a:lnTo>
                          <a:pt x="618" y="1910"/>
                        </a:lnTo>
                        <a:lnTo>
                          <a:pt x="680" y="1886"/>
                        </a:lnTo>
                        <a:lnTo>
                          <a:pt x="746" y="1864"/>
                        </a:lnTo>
                        <a:lnTo>
                          <a:pt x="816" y="1848"/>
                        </a:lnTo>
                        <a:lnTo>
                          <a:pt x="894" y="1836"/>
                        </a:lnTo>
                        <a:lnTo>
                          <a:pt x="973" y="1832"/>
                        </a:lnTo>
                        <a:lnTo>
                          <a:pt x="1057" y="1834"/>
                        </a:lnTo>
                        <a:lnTo>
                          <a:pt x="1145" y="1846"/>
                        </a:lnTo>
                        <a:lnTo>
                          <a:pt x="1237" y="1866"/>
                        </a:lnTo>
                        <a:lnTo>
                          <a:pt x="1328" y="1898"/>
                        </a:lnTo>
                        <a:lnTo>
                          <a:pt x="1422" y="1939"/>
                        </a:lnTo>
                        <a:lnTo>
                          <a:pt x="1518" y="1995"/>
                        </a:lnTo>
                        <a:lnTo>
                          <a:pt x="1582" y="1959"/>
                        </a:lnTo>
                        <a:lnTo>
                          <a:pt x="1649" y="1932"/>
                        </a:lnTo>
                        <a:lnTo>
                          <a:pt x="1719" y="1914"/>
                        </a:lnTo>
                        <a:lnTo>
                          <a:pt x="1791" y="1904"/>
                        </a:lnTo>
                        <a:lnTo>
                          <a:pt x="1865" y="1904"/>
                        </a:lnTo>
                        <a:lnTo>
                          <a:pt x="1939" y="1914"/>
                        </a:lnTo>
                        <a:lnTo>
                          <a:pt x="2010" y="1932"/>
                        </a:lnTo>
                        <a:lnTo>
                          <a:pt x="2078" y="1959"/>
                        </a:lnTo>
                        <a:lnTo>
                          <a:pt x="2142" y="1997"/>
                        </a:lnTo>
                        <a:lnTo>
                          <a:pt x="2202" y="2041"/>
                        </a:lnTo>
                        <a:lnTo>
                          <a:pt x="2256" y="2093"/>
                        </a:lnTo>
                        <a:lnTo>
                          <a:pt x="2274" y="2121"/>
                        </a:lnTo>
                        <a:lnTo>
                          <a:pt x="2284" y="2149"/>
                        </a:lnTo>
                        <a:lnTo>
                          <a:pt x="2286" y="2181"/>
                        </a:lnTo>
                        <a:lnTo>
                          <a:pt x="2280" y="2211"/>
                        </a:lnTo>
                        <a:lnTo>
                          <a:pt x="2266" y="2238"/>
                        </a:lnTo>
                        <a:lnTo>
                          <a:pt x="2244" y="2262"/>
                        </a:lnTo>
                        <a:lnTo>
                          <a:pt x="2216" y="2278"/>
                        </a:lnTo>
                        <a:lnTo>
                          <a:pt x="2186" y="2288"/>
                        </a:lnTo>
                        <a:lnTo>
                          <a:pt x="2156" y="2290"/>
                        </a:lnTo>
                        <a:lnTo>
                          <a:pt x="2126" y="2284"/>
                        </a:lnTo>
                        <a:lnTo>
                          <a:pt x="2096" y="2272"/>
                        </a:lnTo>
                        <a:lnTo>
                          <a:pt x="2072" y="2250"/>
                        </a:lnTo>
                        <a:lnTo>
                          <a:pt x="2036" y="2215"/>
                        </a:lnTo>
                        <a:lnTo>
                          <a:pt x="1995" y="2187"/>
                        </a:lnTo>
                        <a:lnTo>
                          <a:pt x="1949" y="2165"/>
                        </a:lnTo>
                        <a:lnTo>
                          <a:pt x="1901" y="2149"/>
                        </a:lnTo>
                        <a:lnTo>
                          <a:pt x="1849" y="2143"/>
                        </a:lnTo>
                        <a:lnTo>
                          <a:pt x="1797" y="2143"/>
                        </a:lnTo>
                        <a:lnTo>
                          <a:pt x="1747" y="2151"/>
                        </a:lnTo>
                        <a:lnTo>
                          <a:pt x="1699" y="2167"/>
                        </a:lnTo>
                        <a:lnTo>
                          <a:pt x="1653" y="2191"/>
                        </a:lnTo>
                        <a:lnTo>
                          <a:pt x="1612" y="2221"/>
                        </a:lnTo>
                        <a:lnTo>
                          <a:pt x="1572" y="2262"/>
                        </a:lnTo>
                        <a:lnTo>
                          <a:pt x="1540" y="2310"/>
                        </a:lnTo>
                        <a:lnTo>
                          <a:pt x="1518" y="2360"/>
                        </a:lnTo>
                        <a:lnTo>
                          <a:pt x="1504" y="2414"/>
                        </a:lnTo>
                        <a:lnTo>
                          <a:pt x="1502" y="2468"/>
                        </a:lnTo>
                        <a:lnTo>
                          <a:pt x="1506" y="2524"/>
                        </a:lnTo>
                        <a:lnTo>
                          <a:pt x="1522" y="2575"/>
                        </a:lnTo>
                        <a:lnTo>
                          <a:pt x="1548" y="2627"/>
                        </a:lnTo>
                        <a:lnTo>
                          <a:pt x="1582" y="2673"/>
                        </a:lnTo>
                        <a:lnTo>
                          <a:pt x="1600" y="2699"/>
                        </a:lnTo>
                        <a:lnTo>
                          <a:pt x="1610" y="2729"/>
                        </a:lnTo>
                        <a:lnTo>
                          <a:pt x="1612" y="2759"/>
                        </a:lnTo>
                        <a:lnTo>
                          <a:pt x="1606" y="2789"/>
                        </a:lnTo>
                        <a:lnTo>
                          <a:pt x="1592" y="2817"/>
                        </a:lnTo>
                        <a:lnTo>
                          <a:pt x="1570" y="2840"/>
                        </a:lnTo>
                        <a:lnTo>
                          <a:pt x="1546" y="2858"/>
                        </a:lnTo>
                        <a:lnTo>
                          <a:pt x="1518" y="2868"/>
                        </a:lnTo>
                        <a:lnTo>
                          <a:pt x="1490" y="2870"/>
                        </a:lnTo>
                        <a:lnTo>
                          <a:pt x="1458" y="2866"/>
                        </a:lnTo>
                        <a:lnTo>
                          <a:pt x="1426" y="2852"/>
                        </a:lnTo>
                        <a:lnTo>
                          <a:pt x="1398" y="2831"/>
                        </a:lnTo>
                        <a:lnTo>
                          <a:pt x="1352" y="2771"/>
                        </a:lnTo>
                        <a:lnTo>
                          <a:pt x="1316" y="2709"/>
                        </a:lnTo>
                        <a:lnTo>
                          <a:pt x="1288" y="2643"/>
                        </a:lnTo>
                        <a:lnTo>
                          <a:pt x="1271" y="2575"/>
                        </a:lnTo>
                        <a:lnTo>
                          <a:pt x="1261" y="2506"/>
                        </a:lnTo>
                        <a:lnTo>
                          <a:pt x="1261" y="2436"/>
                        </a:lnTo>
                        <a:lnTo>
                          <a:pt x="1269" y="2366"/>
                        </a:lnTo>
                        <a:lnTo>
                          <a:pt x="1286" y="2298"/>
                        </a:lnTo>
                        <a:lnTo>
                          <a:pt x="1310" y="2233"/>
                        </a:lnTo>
                        <a:lnTo>
                          <a:pt x="1344" y="2171"/>
                        </a:lnTo>
                        <a:lnTo>
                          <a:pt x="1269" y="2131"/>
                        </a:lnTo>
                        <a:lnTo>
                          <a:pt x="1195" y="2103"/>
                        </a:lnTo>
                        <a:lnTo>
                          <a:pt x="1123" y="2083"/>
                        </a:lnTo>
                        <a:lnTo>
                          <a:pt x="1055" y="2073"/>
                        </a:lnTo>
                        <a:lnTo>
                          <a:pt x="991" y="2069"/>
                        </a:lnTo>
                        <a:lnTo>
                          <a:pt x="931" y="2073"/>
                        </a:lnTo>
                        <a:lnTo>
                          <a:pt x="876" y="2079"/>
                        </a:lnTo>
                        <a:lnTo>
                          <a:pt x="824" y="2091"/>
                        </a:lnTo>
                        <a:lnTo>
                          <a:pt x="778" y="2105"/>
                        </a:lnTo>
                        <a:lnTo>
                          <a:pt x="738" y="2119"/>
                        </a:lnTo>
                        <a:lnTo>
                          <a:pt x="704" y="2135"/>
                        </a:lnTo>
                        <a:lnTo>
                          <a:pt x="676" y="2149"/>
                        </a:lnTo>
                        <a:lnTo>
                          <a:pt x="654" y="2163"/>
                        </a:lnTo>
                        <a:lnTo>
                          <a:pt x="640" y="2171"/>
                        </a:lnTo>
                        <a:lnTo>
                          <a:pt x="634" y="2177"/>
                        </a:lnTo>
                        <a:lnTo>
                          <a:pt x="630" y="2179"/>
                        </a:lnTo>
                        <a:lnTo>
                          <a:pt x="624" y="2181"/>
                        </a:lnTo>
                        <a:lnTo>
                          <a:pt x="622" y="2183"/>
                        </a:lnTo>
                        <a:lnTo>
                          <a:pt x="618" y="2187"/>
                        </a:lnTo>
                        <a:lnTo>
                          <a:pt x="545" y="2231"/>
                        </a:lnTo>
                        <a:lnTo>
                          <a:pt x="477" y="2282"/>
                        </a:lnTo>
                        <a:lnTo>
                          <a:pt x="417" y="2342"/>
                        </a:lnTo>
                        <a:lnTo>
                          <a:pt x="367" y="2408"/>
                        </a:lnTo>
                        <a:lnTo>
                          <a:pt x="323" y="2480"/>
                        </a:lnTo>
                        <a:lnTo>
                          <a:pt x="289" y="2555"/>
                        </a:lnTo>
                        <a:lnTo>
                          <a:pt x="263" y="2633"/>
                        </a:lnTo>
                        <a:lnTo>
                          <a:pt x="247" y="2717"/>
                        </a:lnTo>
                        <a:lnTo>
                          <a:pt x="243" y="2803"/>
                        </a:lnTo>
                        <a:lnTo>
                          <a:pt x="249" y="2894"/>
                        </a:lnTo>
                        <a:lnTo>
                          <a:pt x="269" y="2984"/>
                        </a:lnTo>
                        <a:lnTo>
                          <a:pt x="299" y="3070"/>
                        </a:lnTo>
                        <a:lnTo>
                          <a:pt x="355" y="3030"/>
                        </a:lnTo>
                        <a:lnTo>
                          <a:pt x="409" y="3002"/>
                        </a:lnTo>
                        <a:lnTo>
                          <a:pt x="463" y="2980"/>
                        </a:lnTo>
                        <a:lnTo>
                          <a:pt x="515" y="2966"/>
                        </a:lnTo>
                        <a:lnTo>
                          <a:pt x="560" y="2958"/>
                        </a:lnTo>
                        <a:lnTo>
                          <a:pt x="582" y="2888"/>
                        </a:lnTo>
                        <a:lnTo>
                          <a:pt x="612" y="2823"/>
                        </a:lnTo>
                        <a:lnTo>
                          <a:pt x="650" y="2763"/>
                        </a:lnTo>
                        <a:lnTo>
                          <a:pt x="694" y="2707"/>
                        </a:lnTo>
                        <a:lnTo>
                          <a:pt x="748" y="2657"/>
                        </a:lnTo>
                        <a:lnTo>
                          <a:pt x="806" y="2613"/>
                        </a:lnTo>
                        <a:lnTo>
                          <a:pt x="870" y="2579"/>
                        </a:lnTo>
                        <a:lnTo>
                          <a:pt x="939" y="2551"/>
                        </a:lnTo>
                        <a:lnTo>
                          <a:pt x="971" y="2545"/>
                        </a:lnTo>
                        <a:lnTo>
                          <a:pt x="1003" y="2549"/>
                        </a:lnTo>
                        <a:lnTo>
                          <a:pt x="1033" y="2559"/>
                        </a:lnTo>
                        <a:lnTo>
                          <a:pt x="1059" y="2575"/>
                        </a:lnTo>
                        <a:lnTo>
                          <a:pt x="1079" y="2599"/>
                        </a:lnTo>
                        <a:lnTo>
                          <a:pt x="1093" y="2629"/>
                        </a:lnTo>
                        <a:lnTo>
                          <a:pt x="1099" y="2659"/>
                        </a:lnTo>
                        <a:lnTo>
                          <a:pt x="1095" y="2691"/>
                        </a:lnTo>
                        <a:lnTo>
                          <a:pt x="1085" y="2719"/>
                        </a:lnTo>
                        <a:lnTo>
                          <a:pt x="1067" y="2745"/>
                        </a:lnTo>
                        <a:lnTo>
                          <a:pt x="1043" y="2765"/>
                        </a:lnTo>
                        <a:lnTo>
                          <a:pt x="1013" y="2779"/>
                        </a:lnTo>
                        <a:lnTo>
                          <a:pt x="959" y="2801"/>
                        </a:lnTo>
                        <a:lnTo>
                          <a:pt x="912" y="2833"/>
                        </a:lnTo>
                        <a:lnTo>
                          <a:pt x="870" y="2870"/>
                        </a:lnTo>
                        <a:lnTo>
                          <a:pt x="836" y="2914"/>
                        </a:lnTo>
                        <a:lnTo>
                          <a:pt x="810" y="2966"/>
                        </a:lnTo>
                        <a:lnTo>
                          <a:pt x="794" y="3020"/>
                        </a:lnTo>
                        <a:lnTo>
                          <a:pt x="788" y="3078"/>
                        </a:lnTo>
                        <a:lnTo>
                          <a:pt x="792" y="3134"/>
                        </a:lnTo>
                        <a:lnTo>
                          <a:pt x="806" y="3189"/>
                        </a:lnTo>
                        <a:lnTo>
                          <a:pt x="828" y="3239"/>
                        </a:lnTo>
                        <a:lnTo>
                          <a:pt x="860" y="3287"/>
                        </a:lnTo>
                        <a:lnTo>
                          <a:pt x="900" y="3327"/>
                        </a:lnTo>
                        <a:lnTo>
                          <a:pt x="947" y="3361"/>
                        </a:lnTo>
                        <a:lnTo>
                          <a:pt x="973" y="3381"/>
                        </a:lnTo>
                        <a:lnTo>
                          <a:pt x="991" y="3405"/>
                        </a:lnTo>
                        <a:lnTo>
                          <a:pt x="1003" y="3433"/>
                        </a:lnTo>
                        <a:lnTo>
                          <a:pt x="1007" y="3462"/>
                        </a:lnTo>
                        <a:lnTo>
                          <a:pt x="1001" y="3494"/>
                        </a:lnTo>
                        <a:lnTo>
                          <a:pt x="989" y="3522"/>
                        </a:lnTo>
                        <a:lnTo>
                          <a:pt x="969" y="3548"/>
                        </a:lnTo>
                        <a:lnTo>
                          <a:pt x="943" y="3566"/>
                        </a:lnTo>
                        <a:lnTo>
                          <a:pt x="915" y="3578"/>
                        </a:lnTo>
                        <a:lnTo>
                          <a:pt x="886" y="3582"/>
                        </a:lnTo>
                        <a:lnTo>
                          <a:pt x="854" y="3578"/>
                        </a:lnTo>
                        <a:lnTo>
                          <a:pt x="824" y="3564"/>
                        </a:lnTo>
                        <a:lnTo>
                          <a:pt x="768" y="3526"/>
                        </a:lnTo>
                        <a:lnTo>
                          <a:pt x="716" y="3484"/>
                        </a:lnTo>
                        <a:lnTo>
                          <a:pt x="672" y="3434"/>
                        </a:lnTo>
                        <a:lnTo>
                          <a:pt x="632" y="3383"/>
                        </a:lnTo>
                        <a:lnTo>
                          <a:pt x="600" y="3325"/>
                        </a:lnTo>
                        <a:lnTo>
                          <a:pt x="576" y="3263"/>
                        </a:lnTo>
                        <a:lnTo>
                          <a:pt x="558" y="3201"/>
                        </a:lnTo>
                        <a:lnTo>
                          <a:pt x="531" y="3209"/>
                        </a:lnTo>
                        <a:lnTo>
                          <a:pt x="501" y="3223"/>
                        </a:lnTo>
                        <a:lnTo>
                          <a:pt x="469" y="3241"/>
                        </a:lnTo>
                        <a:lnTo>
                          <a:pt x="439" y="3267"/>
                        </a:lnTo>
                        <a:lnTo>
                          <a:pt x="409" y="3299"/>
                        </a:lnTo>
                        <a:lnTo>
                          <a:pt x="379" y="3339"/>
                        </a:lnTo>
                        <a:lnTo>
                          <a:pt x="377" y="3343"/>
                        </a:lnTo>
                        <a:lnTo>
                          <a:pt x="373" y="3347"/>
                        </a:lnTo>
                        <a:lnTo>
                          <a:pt x="373" y="3351"/>
                        </a:lnTo>
                        <a:lnTo>
                          <a:pt x="371" y="3353"/>
                        </a:lnTo>
                        <a:lnTo>
                          <a:pt x="325" y="3417"/>
                        </a:lnTo>
                        <a:lnTo>
                          <a:pt x="289" y="3484"/>
                        </a:lnTo>
                        <a:lnTo>
                          <a:pt x="263" y="3554"/>
                        </a:lnTo>
                        <a:lnTo>
                          <a:pt x="247" y="3630"/>
                        </a:lnTo>
                        <a:lnTo>
                          <a:pt x="243" y="3708"/>
                        </a:lnTo>
                        <a:lnTo>
                          <a:pt x="247" y="3785"/>
                        </a:lnTo>
                        <a:lnTo>
                          <a:pt x="265" y="3861"/>
                        </a:lnTo>
                        <a:lnTo>
                          <a:pt x="291" y="3933"/>
                        </a:lnTo>
                        <a:lnTo>
                          <a:pt x="327" y="4001"/>
                        </a:lnTo>
                        <a:lnTo>
                          <a:pt x="373" y="4062"/>
                        </a:lnTo>
                        <a:lnTo>
                          <a:pt x="427" y="4118"/>
                        </a:lnTo>
                        <a:lnTo>
                          <a:pt x="489" y="4166"/>
                        </a:lnTo>
                        <a:lnTo>
                          <a:pt x="529" y="4104"/>
                        </a:lnTo>
                        <a:lnTo>
                          <a:pt x="576" y="4050"/>
                        </a:lnTo>
                        <a:lnTo>
                          <a:pt x="626" y="4003"/>
                        </a:lnTo>
                        <a:lnTo>
                          <a:pt x="680" y="3963"/>
                        </a:lnTo>
                        <a:lnTo>
                          <a:pt x="736" y="3929"/>
                        </a:lnTo>
                        <a:lnTo>
                          <a:pt x="794" y="3901"/>
                        </a:lnTo>
                        <a:lnTo>
                          <a:pt x="852" y="3877"/>
                        </a:lnTo>
                        <a:lnTo>
                          <a:pt x="910" y="3857"/>
                        </a:lnTo>
                        <a:lnTo>
                          <a:pt x="967" y="3843"/>
                        </a:lnTo>
                        <a:lnTo>
                          <a:pt x="1021" y="3831"/>
                        </a:lnTo>
                        <a:lnTo>
                          <a:pt x="1073" y="3823"/>
                        </a:lnTo>
                        <a:lnTo>
                          <a:pt x="1121" y="3817"/>
                        </a:lnTo>
                        <a:lnTo>
                          <a:pt x="1163" y="3815"/>
                        </a:lnTo>
                        <a:lnTo>
                          <a:pt x="1185" y="3745"/>
                        </a:lnTo>
                        <a:lnTo>
                          <a:pt x="1213" y="3678"/>
                        </a:lnTo>
                        <a:lnTo>
                          <a:pt x="1249" y="3614"/>
                        </a:lnTo>
                        <a:lnTo>
                          <a:pt x="1290" y="3554"/>
                        </a:lnTo>
                        <a:lnTo>
                          <a:pt x="1340" y="3500"/>
                        </a:lnTo>
                        <a:lnTo>
                          <a:pt x="1396" y="3450"/>
                        </a:lnTo>
                        <a:lnTo>
                          <a:pt x="1424" y="3433"/>
                        </a:lnTo>
                        <a:lnTo>
                          <a:pt x="1454" y="3425"/>
                        </a:lnTo>
                        <a:lnTo>
                          <a:pt x="1484" y="3423"/>
                        </a:lnTo>
                        <a:lnTo>
                          <a:pt x="1514" y="3431"/>
                        </a:lnTo>
                        <a:lnTo>
                          <a:pt x="1542" y="3444"/>
                        </a:lnTo>
                        <a:lnTo>
                          <a:pt x="1566" y="3466"/>
                        </a:lnTo>
                        <a:lnTo>
                          <a:pt x="1584" y="3492"/>
                        </a:lnTo>
                        <a:lnTo>
                          <a:pt x="1592" y="3522"/>
                        </a:lnTo>
                        <a:lnTo>
                          <a:pt x="1594" y="3552"/>
                        </a:lnTo>
                        <a:lnTo>
                          <a:pt x="1586" y="3582"/>
                        </a:lnTo>
                        <a:lnTo>
                          <a:pt x="1572" y="3610"/>
                        </a:lnTo>
                        <a:lnTo>
                          <a:pt x="1550" y="3634"/>
                        </a:lnTo>
                        <a:lnTo>
                          <a:pt x="1502" y="3678"/>
                        </a:lnTo>
                        <a:lnTo>
                          <a:pt x="1462" y="3730"/>
                        </a:lnTo>
                        <a:lnTo>
                          <a:pt x="1430" y="3785"/>
                        </a:lnTo>
                        <a:lnTo>
                          <a:pt x="1406" y="3845"/>
                        </a:lnTo>
                        <a:lnTo>
                          <a:pt x="1392" y="3907"/>
                        </a:lnTo>
                        <a:lnTo>
                          <a:pt x="1386" y="3973"/>
                        </a:lnTo>
                        <a:lnTo>
                          <a:pt x="1392" y="4042"/>
                        </a:lnTo>
                        <a:lnTo>
                          <a:pt x="1410" y="4110"/>
                        </a:lnTo>
                        <a:lnTo>
                          <a:pt x="1436" y="4174"/>
                        </a:lnTo>
                        <a:lnTo>
                          <a:pt x="1474" y="4232"/>
                        </a:lnTo>
                        <a:lnTo>
                          <a:pt x="1518" y="4282"/>
                        </a:lnTo>
                        <a:lnTo>
                          <a:pt x="1570" y="4326"/>
                        </a:lnTo>
                        <a:lnTo>
                          <a:pt x="1628" y="4361"/>
                        </a:lnTo>
                        <a:lnTo>
                          <a:pt x="1691" y="4387"/>
                        </a:lnTo>
                        <a:lnTo>
                          <a:pt x="1761" y="4405"/>
                        </a:lnTo>
                        <a:lnTo>
                          <a:pt x="1833" y="4411"/>
                        </a:lnTo>
                        <a:lnTo>
                          <a:pt x="1905" y="4405"/>
                        </a:lnTo>
                        <a:lnTo>
                          <a:pt x="1975" y="4387"/>
                        </a:lnTo>
                        <a:lnTo>
                          <a:pt x="2038" y="4361"/>
                        </a:lnTo>
                        <a:lnTo>
                          <a:pt x="2096" y="4326"/>
                        </a:lnTo>
                        <a:lnTo>
                          <a:pt x="2148" y="4282"/>
                        </a:lnTo>
                        <a:lnTo>
                          <a:pt x="2192" y="4232"/>
                        </a:lnTo>
                        <a:lnTo>
                          <a:pt x="2230" y="4174"/>
                        </a:lnTo>
                        <a:lnTo>
                          <a:pt x="2256" y="4110"/>
                        </a:lnTo>
                        <a:lnTo>
                          <a:pt x="2274" y="4042"/>
                        </a:lnTo>
                        <a:lnTo>
                          <a:pt x="2280" y="3973"/>
                        </a:lnTo>
                        <a:lnTo>
                          <a:pt x="2274" y="3909"/>
                        </a:lnTo>
                        <a:lnTo>
                          <a:pt x="2262" y="3849"/>
                        </a:lnTo>
                        <a:lnTo>
                          <a:pt x="2240" y="3791"/>
                        </a:lnTo>
                        <a:lnTo>
                          <a:pt x="2208" y="3735"/>
                        </a:lnTo>
                        <a:lnTo>
                          <a:pt x="2170" y="3686"/>
                        </a:lnTo>
                        <a:lnTo>
                          <a:pt x="2170" y="3684"/>
                        </a:lnTo>
                        <a:lnTo>
                          <a:pt x="2168" y="3680"/>
                        </a:lnTo>
                        <a:lnTo>
                          <a:pt x="2118" y="3672"/>
                        </a:lnTo>
                        <a:lnTo>
                          <a:pt x="2068" y="3656"/>
                        </a:lnTo>
                        <a:lnTo>
                          <a:pt x="2001" y="3626"/>
                        </a:lnTo>
                        <a:lnTo>
                          <a:pt x="1941" y="3588"/>
                        </a:lnTo>
                        <a:lnTo>
                          <a:pt x="1889" y="3542"/>
                        </a:lnTo>
                        <a:lnTo>
                          <a:pt x="1843" y="3490"/>
                        </a:lnTo>
                        <a:lnTo>
                          <a:pt x="1807" y="3433"/>
                        </a:lnTo>
                        <a:lnTo>
                          <a:pt x="1777" y="3371"/>
                        </a:lnTo>
                        <a:lnTo>
                          <a:pt x="1759" y="3307"/>
                        </a:lnTo>
                        <a:lnTo>
                          <a:pt x="1747" y="3239"/>
                        </a:lnTo>
                        <a:lnTo>
                          <a:pt x="1747" y="3169"/>
                        </a:lnTo>
                        <a:lnTo>
                          <a:pt x="1757" y="3102"/>
                        </a:lnTo>
                        <a:lnTo>
                          <a:pt x="1777" y="3032"/>
                        </a:lnTo>
                        <a:lnTo>
                          <a:pt x="1793" y="3004"/>
                        </a:lnTo>
                        <a:lnTo>
                          <a:pt x="1815" y="2982"/>
                        </a:lnTo>
                        <a:lnTo>
                          <a:pt x="1841" y="2966"/>
                        </a:lnTo>
                        <a:lnTo>
                          <a:pt x="1871" y="2956"/>
                        </a:lnTo>
                        <a:lnTo>
                          <a:pt x="1901" y="2954"/>
                        </a:lnTo>
                        <a:lnTo>
                          <a:pt x="1933" y="2962"/>
                        </a:lnTo>
                        <a:lnTo>
                          <a:pt x="1963" y="2976"/>
                        </a:lnTo>
                        <a:lnTo>
                          <a:pt x="1985" y="2998"/>
                        </a:lnTo>
                        <a:lnTo>
                          <a:pt x="2001" y="3024"/>
                        </a:lnTo>
                        <a:lnTo>
                          <a:pt x="2010" y="3054"/>
                        </a:lnTo>
                        <a:lnTo>
                          <a:pt x="2012" y="3084"/>
                        </a:lnTo>
                        <a:lnTo>
                          <a:pt x="2005" y="3116"/>
                        </a:lnTo>
                        <a:lnTo>
                          <a:pt x="1993" y="3163"/>
                        </a:lnTo>
                        <a:lnTo>
                          <a:pt x="1989" y="3211"/>
                        </a:lnTo>
                        <a:lnTo>
                          <a:pt x="1997" y="3259"/>
                        </a:lnTo>
                        <a:lnTo>
                          <a:pt x="2012" y="3303"/>
                        </a:lnTo>
                        <a:lnTo>
                          <a:pt x="2036" y="3345"/>
                        </a:lnTo>
                        <a:lnTo>
                          <a:pt x="2068" y="3381"/>
                        </a:lnTo>
                        <a:lnTo>
                          <a:pt x="2106" y="3411"/>
                        </a:lnTo>
                        <a:lnTo>
                          <a:pt x="2152" y="3433"/>
                        </a:lnTo>
                        <a:lnTo>
                          <a:pt x="2202" y="3444"/>
                        </a:lnTo>
                        <a:lnTo>
                          <a:pt x="2250" y="3448"/>
                        </a:lnTo>
                        <a:lnTo>
                          <a:pt x="2300" y="3440"/>
                        </a:lnTo>
                        <a:lnTo>
                          <a:pt x="2344" y="3427"/>
                        </a:lnTo>
                        <a:lnTo>
                          <a:pt x="2385" y="3403"/>
                        </a:lnTo>
                        <a:lnTo>
                          <a:pt x="2423" y="3371"/>
                        </a:lnTo>
                        <a:lnTo>
                          <a:pt x="2453" y="3333"/>
                        </a:lnTo>
                        <a:lnTo>
                          <a:pt x="2475" y="3287"/>
                        </a:lnTo>
                        <a:lnTo>
                          <a:pt x="2491" y="3259"/>
                        </a:lnTo>
                        <a:lnTo>
                          <a:pt x="2513" y="3237"/>
                        </a:lnTo>
                        <a:lnTo>
                          <a:pt x="2539" y="3221"/>
                        </a:lnTo>
                        <a:lnTo>
                          <a:pt x="2569" y="3211"/>
                        </a:lnTo>
                        <a:lnTo>
                          <a:pt x="2599" y="3211"/>
                        </a:lnTo>
                        <a:lnTo>
                          <a:pt x="2631" y="3217"/>
                        </a:lnTo>
                        <a:lnTo>
                          <a:pt x="2661" y="3233"/>
                        </a:lnTo>
                        <a:lnTo>
                          <a:pt x="2683" y="3253"/>
                        </a:lnTo>
                        <a:lnTo>
                          <a:pt x="2699" y="3279"/>
                        </a:lnTo>
                        <a:lnTo>
                          <a:pt x="2709" y="3309"/>
                        </a:lnTo>
                        <a:lnTo>
                          <a:pt x="2711" y="3339"/>
                        </a:lnTo>
                        <a:lnTo>
                          <a:pt x="2703" y="3371"/>
                        </a:lnTo>
                        <a:lnTo>
                          <a:pt x="2675" y="3433"/>
                        </a:lnTo>
                        <a:lnTo>
                          <a:pt x="2639" y="3488"/>
                        </a:lnTo>
                        <a:lnTo>
                          <a:pt x="2595" y="3538"/>
                        </a:lnTo>
                        <a:lnTo>
                          <a:pt x="2547" y="3580"/>
                        </a:lnTo>
                        <a:lnTo>
                          <a:pt x="2493" y="3616"/>
                        </a:lnTo>
                        <a:lnTo>
                          <a:pt x="2435" y="3646"/>
                        </a:lnTo>
                        <a:lnTo>
                          <a:pt x="2471" y="3724"/>
                        </a:lnTo>
                        <a:lnTo>
                          <a:pt x="2499" y="3803"/>
                        </a:lnTo>
                        <a:lnTo>
                          <a:pt x="2515" y="3887"/>
                        </a:lnTo>
                        <a:lnTo>
                          <a:pt x="2521" y="3973"/>
                        </a:lnTo>
                        <a:lnTo>
                          <a:pt x="2515" y="4064"/>
                        </a:lnTo>
                        <a:lnTo>
                          <a:pt x="2497" y="4152"/>
                        </a:lnTo>
                        <a:lnTo>
                          <a:pt x="2467" y="4236"/>
                        </a:lnTo>
                        <a:lnTo>
                          <a:pt x="2427" y="4314"/>
                        </a:lnTo>
                        <a:lnTo>
                          <a:pt x="2377" y="4385"/>
                        </a:lnTo>
                        <a:lnTo>
                          <a:pt x="2320" y="4451"/>
                        </a:lnTo>
                        <a:lnTo>
                          <a:pt x="2254" y="4507"/>
                        </a:lnTo>
                        <a:lnTo>
                          <a:pt x="2180" y="4557"/>
                        </a:lnTo>
                        <a:lnTo>
                          <a:pt x="2100" y="4595"/>
                        </a:lnTo>
                        <a:lnTo>
                          <a:pt x="2016" y="4625"/>
                        </a:lnTo>
                        <a:lnTo>
                          <a:pt x="1927" y="4642"/>
                        </a:lnTo>
                        <a:lnTo>
                          <a:pt x="1833" y="4648"/>
                        </a:lnTo>
                        <a:lnTo>
                          <a:pt x="1747" y="4644"/>
                        </a:lnTo>
                        <a:lnTo>
                          <a:pt x="1663" y="4629"/>
                        </a:lnTo>
                        <a:lnTo>
                          <a:pt x="1584" y="4603"/>
                        </a:lnTo>
                        <a:lnTo>
                          <a:pt x="1510" y="4569"/>
                        </a:lnTo>
                        <a:lnTo>
                          <a:pt x="1440" y="4527"/>
                        </a:lnTo>
                        <a:lnTo>
                          <a:pt x="1376" y="4477"/>
                        </a:lnTo>
                        <a:lnTo>
                          <a:pt x="1318" y="4421"/>
                        </a:lnTo>
                        <a:lnTo>
                          <a:pt x="1269" y="4357"/>
                        </a:lnTo>
                        <a:lnTo>
                          <a:pt x="1225" y="4290"/>
                        </a:lnTo>
                        <a:lnTo>
                          <a:pt x="1191" y="4216"/>
                        </a:lnTo>
                        <a:lnTo>
                          <a:pt x="1165" y="4138"/>
                        </a:lnTo>
                        <a:lnTo>
                          <a:pt x="1151" y="4054"/>
                        </a:lnTo>
                        <a:lnTo>
                          <a:pt x="1111" y="4058"/>
                        </a:lnTo>
                        <a:lnTo>
                          <a:pt x="1067" y="4066"/>
                        </a:lnTo>
                        <a:lnTo>
                          <a:pt x="1021" y="4074"/>
                        </a:lnTo>
                        <a:lnTo>
                          <a:pt x="973" y="4088"/>
                        </a:lnTo>
                        <a:lnTo>
                          <a:pt x="925" y="4104"/>
                        </a:lnTo>
                        <a:lnTo>
                          <a:pt x="878" y="4124"/>
                        </a:lnTo>
                        <a:lnTo>
                          <a:pt x="832" y="4150"/>
                        </a:lnTo>
                        <a:lnTo>
                          <a:pt x="788" y="4182"/>
                        </a:lnTo>
                        <a:lnTo>
                          <a:pt x="748" y="4218"/>
                        </a:lnTo>
                        <a:lnTo>
                          <a:pt x="712" y="4262"/>
                        </a:lnTo>
                        <a:lnTo>
                          <a:pt x="682" y="4312"/>
                        </a:lnTo>
                        <a:lnTo>
                          <a:pt x="658" y="4369"/>
                        </a:lnTo>
                        <a:lnTo>
                          <a:pt x="654" y="4379"/>
                        </a:lnTo>
                        <a:lnTo>
                          <a:pt x="650" y="4389"/>
                        </a:lnTo>
                        <a:lnTo>
                          <a:pt x="644" y="4399"/>
                        </a:lnTo>
                        <a:lnTo>
                          <a:pt x="642" y="4401"/>
                        </a:lnTo>
                        <a:lnTo>
                          <a:pt x="642" y="4403"/>
                        </a:lnTo>
                        <a:lnTo>
                          <a:pt x="600" y="4471"/>
                        </a:lnTo>
                        <a:lnTo>
                          <a:pt x="566" y="4543"/>
                        </a:lnTo>
                        <a:lnTo>
                          <a:pt x="543" y="4617"/>
                        </a:lnTo>
                        <a:lnTo>
                          <a:pt x="527" y="4694"/>
                        </a:lnTo>
                        <a:lnTo>
                          <a:pt x="523" y="4774"/>
                        </a:lnTo>
                        <a:lnTo>
                          <a:pt x="527" y="4856"/>
                        </a:lnTo>
                        <a:lnTo>
                          <a:pt x="543" y="4931"/>
                        </a:lnTo>
                        <a:lnTo>
                          <a:pt x="564" y="5005"/>
                        </a:lnTo>
                        <a:lnTo>
                          <a:pt x="596" y="5075"/>
                        </a:lnTo>
                        <a:lnTo>
                          <a:pt x="638" y="5141"/>
                        </a:lnTo>
                        <a:lnTo>
                          <a:pt x="684" y="5201"/>
                        </a:lnTo>
                        <a:lnTo>
                          <a:pt x="740" y="5254"/>
                        </a:lnTo>
                        <a:lnTo>
                          <a:pt x="800" y="5302"/>
                        </a:lnTo>
                        <a:lnTo>
                          <a:pt x="866" y="5342"/>
                        </a:lnTo>
                        <a:lnTo>
                          <a:pt x="937" y="5376"/>
                        </a:lnTo>
                        <a:lnTo>
                          <a:pt x="951" y="5314"/>
                        </a:lnTo>
                        <a:lnTo>
                          <a:pt x="969" y="5256"/>
                        </a:lnTo>
                        <a:lnTo>
                          <a:pt x="991" y="5205"/>
                        </a:lnTo>
                        <a:lnTo>
                          <a:pt x="1013" y="5157"/>
                        </a:lnTo>
                        <a:lnTo>
                          <a:pt x="1039" y="5113"/>
                        </a:lnTo>
                        <a:lnTo>
                          <a:pt x="1063" y="5077"/>
                        </a:lnTo>
                        <a:lnTo>
                          <a:pt x="1087" y="5045"/>
                        </a:lnTo>
                        <a:lnTo>
                          <a:pt x="1107" y="5019"/>
                        </a:lnTo>
                        <a:lnTo>
                          <a:pt x="1123" y="5001"/>
                        </a:lnTo>
                        <a:lnTo>
                          <a:pt x="1135" y="4989"/>
                        </a:lnTo>
                        <a:lnTo>
                          <a:pt x="1141" y="4983"/>
                        </a:lnTo>
                        <a:lnTo>
                          <a:pt x="1167" y="4963"/>
                        </a:lnTo>
                        <a:lnTo>
                          <a:pt x="1197" y="4953"/>
                        </a:lnTo>
                        <a:lnTo>
                          <a:pt x="1227" y="4949"/>
                        </a:lnTo>
                        <a:lnTo>
                          <a:pt x="1259" y="4955"/>
                        </a:lnTo>
                        <a:lnTo>
                          <a:pt x="1286" y="4967"/>
                        </a:lnTo>
                        <a:lnTo>
                          <a:pt x="1312" y="4987"/>
                        </a:lnTo>
                        <a:lnTo>
                          <a:pt x="1332" y="5013"/>
                        </a:lnTo>
                        <a:lnTo>
                          <a:pt x="1342" y="5043"/>
                        </a:lnTo>
                        <a:lnTo>
                          <a:pt x="1346" y="5073"/>
                        </a:lnTo>
                        <a:lnTo>
                          <a:pt x="1340" y="5103"/>
                        </a:lnTo>
                        <a:lnTo>
                          <a:pt x="1328" y="5131"/>
                        </a:lnTo>
                        <a:lnTo>
                          <a:pt x="1308" y="5157"/>
                        </a:lnTo>
                        <a:lnTo>
                          <a:pt x="1304" y="5161"/>
                        </a:lnTo>
                        <a:lnTo>
                          <a:pt x="1294" y="5171"/>
                        </a:lnTo>
                        <a:lnTo>
                          <a:pt x="1278" y="5189"/>
                        </a:lnTo>
                        <a:lnTo>
                          <a:pt x="1261" y="5213"/>
                        </a:lnTo>
                        <a:lnTo>
                          <a:pt x="1241" y="5242"/>
                        </a:lnTo>
                        <a:lnTo>
                          <a:pt x="1221" y="5278"/>
                        </a:lnTo>
                        <a:lnTo>
                          <a:pt x="1203" y="5318"/>
                        </a:lnTo>
                        <a:lnTo>
                          <a:pt x="1187" y="5362"/>
                        </a:lnTo>
                        <a:lnTo>
                          <a:pt x="1177" y="5410"/>
                        </a:lnTo>
                        <a:lnTo>
                          <a:pt x="1171" y="5464"/>
                        </a:lnTo>
                        <a:lnTo>
                          <a:pt x="1173" y="5518"/>
                        </a:lnTo>
                        <a:lnTo>
                          <a:pt x="1173" y="5524"/>
                        </a:lnTo>
                        <a:lnTo>
                          <a:pt x="1171" y="5527"/>
                        </a:lnTo>
                        <a:lnTo>
                          <a:pt x="1171" y="5533"/>
                        </a:lnTo>
                        <a:lnTo>
                          <a:pt x="1171" y="5539"/>
                        </a:lnTo>
                        <a:lnTo>
                          <a:pt x="1171" y="5543"/>
                        </a:lnTo>
                        <a:lnTo>
                          <a:pt x="1171" y="5549"/>
                        </a:lnTo>
                        <a:lnTo>
                          <a:pt x="1167" y="5611"/>
                        </a:lnTo>
                        <a:lnTo>
                          <a:pt x="1173" y="5681"/>
                        </a:lnTo>
                        <a:lnTo>
                          <a:pt x="1189" y="5749"/>
                        </a:lnTo>
                        <a:lnTo>
                          <a:pt x="1217" y="5811"/>
                        </a:lnTo>
                        <a:lnTo>
                          <a:pt x="1253" y="5866"/>
                        </a:lnTo>
                        <a:lnTo>
                          <a:pt x="1296" y="5918"/>
                        </a:lnTo>
                        <a:lnTo>
                          <a:pt x="1346" y="5960"/>
                        </a:lnTo>
                        <a:lnTo>
                          <a:pt x="1404" y="5996"/>
                        </a:lnTo>
                        <a:lnTo>
                          <a:pt x="1468" y="6022"/>
                        </a:lnTo>
                        <a:lnTo>
                          <a:pt x="1536" y="6038"/>
                        </a:lnTo>
                        <a:lnTo>
                          <a:pt x="1608" y="6044"/>
                        </a:lnTo>
                        <a:lnTo>
                          <a:pt x="1665" y="6040"/>
                        </a:lnTo>
                        <a:lnTo>
                          <a:pt x="1721" y="6028"/>
                        </a:lnTo>
                        <a:lnTo>
                          <a:pt x="1777" y="6010"/>
                        </a:lnTo>
                        <a:lnTo>
                          <a:pt x="1761" y="5960"/>
                        </a:lnTo>
                        <a:lnTo>
                          <a:pt x="1749" y="5906"/>
                        </a:lnTo>
                        <a:lnTo>
                          <a:pt x="1741" y="5846"/>
                        </a:lnTo>
                        <a:lnTo>
                          <a:pt x="1743" y="5785"/>
                        </a:lnTo>
                        <a:lnTo>
                          <a:pt x="1749" y="5717"/>
                        </a:lnTo>
                        <a:lnTo>
                          <a:pt x="1767" y="5649"/>
                        </a:lnTo>
                        <a:lnTo>
                          <a:pt x="1793" y="5577"/>
                        </a:lnTo>
                        <a:lnTo>
                          <a:pt x="1831" y="5504"/>
                        </a:lnTo>
                        <a:lnTo>
                          <a:pt x="1879" y="5428"/>
                        </a:lnTo>
                        <a:lnTo>
                          <a:pt x="1853" y="5378"/>
                        </a:lnTo>
                        <a:lnTo>
                          <a:pt x="1835" y="5324"/>
                        </a:lnTo>
                        <a:lnTo>
                          <a:pt x="1825" y="5268"/>
                        </a:lnTo>
                        <a:lnTo>
                          <a:pt x="1821" y="5211"/>
                        </a:lnTo>
                        <a:lnTo>
                          <a:pt x="1827" y="5155"/>
                        </a:lnTo>
                        <a:lnTo>
                          <a:pt x="1843" y="5099"/>
                        </a:lnTo>
                        <a:lnTo>
                          <a:pt x="1865" y="5045"/>
                        </a:lnTo>
                        <a:lnTo>
                          <a:pt x="1897" y="4993"/>
                        </a:lnTo>
                        <a:lnTo>
                          <a:pt x="1921" y="4971"/>
                        </a:lnTo>
                        <a:lnTo>
                          <a:pt x="1947" y="4955"/>
                        </a:lnTo>
                        <a:lnTo>
                          <a:pt x="1977" y="4945"/>
                        </a:lnTo>
                        <a:lnTo>
                          <a:pt x="2008" y="4945"/>
                        </a:lnTo>
                        <a:lnTo>
                          <a:pt x="2038" y="4951"/>
                        </a:lnTo>
                        <a:lnTo>
                          <a:pt x="2066" y="4967"/>
                        </a:lnTo>
                        <a:lnTo>
                          <a:pt x="2090" y="4989"/>
                        </a:lnTo>
                        <a:lnTo>
                          <a:pt x="2106" y="5015"/>
                        </a:lnTo>
                        <a:lnTo>
                          <a:pt x="2116" y="5045"/>
                        </a:lnTo>
                        <a:lnTo>
                          <a:pt x="2116" y="5075"/>
                        </a:lnTo>
                        <a:lnTo>
                          <a:pt x="2110" y="5105"/>
                        </a:lnTo>
                        <a:lnTo>
                          <a:pt x="2094" y="5133"/>
                        </a:lnTo>
                        <a:lnTo>
                          <a:pt x="2076" y="5165"/>
                        </a:lnTo>
                        <a:lnTo>
                          <a:pt x="2066" y="5199"/>
                        </a:lnTo>
                        <a:lnTo>
                          <a:pt x="2064" y="5232"/>
                        </a:lnTo>
                        <a:lnTo>
                          <a:pt x="2070" y="5266"/>
                        </a:lnTo>
                        <a:lnTo>
                          <a:pt x="2082" y="5298"/>
                        </a:lnTo>
                        <a:lnTo>
                          <a:pt x="2102" y="5326"/>
                        </a:lnTo>
                        <a:lnTo>
                          <a:pt x="2130" y="5350"/>
                        </a:lnTo>
                        <a:lnTo>
                          <a:pt x="2162" y="5368"/>
                        </a:lnTo>
                        <a:lnTo>
                          <a:pt x="2196" y="5378"/>
                        </a:lnTo>
                        <a:lnTo>
                          <a:pt x="2230" y="5380"/>
                        </a:lnTo>
                        <a:lnTo>
                          <a:pt x="2264" y="5374"/>
                        </a:lnTo>
                        <a:lnTo>
                          <a:pt x="2298" y="5362"/>
                        </a:lnTo>
                        <a:lnTo>
                          <a:pt x="2326" y="5342"/>
                        </a:lnTo>
                        <a:lnTo>
                          <a:pt x="2352" y="5316"/>
                        </a:lnTo>
                        <a:lnTo>
                          <a:pt x="2373" y="5292"/>
                        </a:lnTo>
                        <a:lnTo>
                          <a:pt x="2401" y="5276"/>
                        </a:lnTo>
                        <a:lnTo>
                          <a:pt x="2429" y="5268"/>
                        </a:lnTo>
                        <a:lnTo>
                          <a:pt x="2461" y="5266"/>
                        </a:lnTo>
                        <a:lnTo>
                          <a:pt x="2491" y="5274"/>
                        </a:lnTo>
                        <a:lnTo>
                          <a:pt x="2521" y="5290"/>
                        </a:lnTo>
                        <a:lnTo>
                          <a:pt x="2545" y="5312"/>
                        </a:lnTo>
                        <a:lnTo>
                          <a:pt x="2561" y="5338"/>
                        </a:lnTo>
                        <a:lnTo>
                          <a:pt x="2569" y="5366"/>
                        </a:lnTo>
                        <a:lnTo>
                          <a:pt x="2571" y="5398"/>
                        </a:lnTo>
                        <a:lnTo>
                          <a:pt x="2563" y="5428"/>
                        </a:lnTo>
                        <a:lnTo>
                          <a:pt x="2547" y="5456"/>
                        </a:lnTo>
                        <a:lnTo>
                          <a:pt x="2505" y="5506"/>
                        </a:lnTo>
                        <a:lnTo>
                          <a:pt x="2455" y="5545"/>
                        </a:lnTo>
                        <a:lnTo>
                          <a:pt x="2401" y="5577"/>
                        </a:lnTo>
                        <a:lnTo>
                          <a:pt x="2344" y="5599"/>
                        </a:lnTo>
                        <a:lnTo>
                          <a:pt x="2284" y="5613"/>
                        </a:lnTo>
                        <a:lnTo>
                          <a:pt x="2222" y="5619"/>
                        </a:lnTo>
                        <a:lnTo>
                          <a:pt x="2168" y="5615"/>
                        </a:lnTo>
                        <a:lnTo>
                          <a:pt x="2116" y="5603"/>
                        </a:lnTo>
                        <a:lnTo>
                          <a:pt x="2064" y="5585"/>
                        </a:lnTo>
                        <a:lnTo>
                          <a:pt x="2030" y="5639"/>
                        </a:lnTo>
                        <a:lnTo>
                          <a:pt x="2008" y="5691"/>
                        </a:lnTo>
                        <a:lnTo>
                          <a:pt x="1993" y="5739"/>
                        </a:lnTo>
                        <a:lnTo>
                          <a:pt x="1985" y="5783"/>
                        </a:lnTo>
                        <a:lnTo>
                          <a:pt x="1983" y="5825"/>
                        </a:lnTo>
                        <a:lnTo>
                          <a:pt x="1987" y="5860"/>
                        </a:lnTo>
                        <a:lnTo>
                          <a:pt x="1993" y="5892"/>
                        </a:lnTo>
                        <a:lnTo>
                          <a:pt x="2003" y="5920"/>
                        </a:lnTo>
                        <a:lnTo>
                          <a:pt x="2010" y="5944"/>
                        </a:lnTo>
                        <a:lnTo>
                          <a:pt x="2020" y="5962"/>
                        </a:lnTo>
                        <a:lnTo>
                          <a:pt x="2028" y="5976"/>
                        </a:lnTo>
                        <a:lnTo>
                          <a:pt x="2034" y="5984"/>
                        </a:lnTo>
                        <a:lnTo>
                          <a:pt x="2040" y="5992"/>
                        </a:lnTo>
                        <a:lnTo>
                          <a:pt x="2044" y="6002"/>
                        </a:lnTo>
                        <a:lnTo>
                          <a:pt x="2048" y="6010"/>
                        </a:lnTo>
                        <a:lnTo>
                          <a:pt x="2050" y="6014"/>
                        </a:lnTo>
                        <a:lnTo>
                          <a:pt x="2052" y="6016"/>
                        </a:lnTo>
                        <a:lnTo>
                          <a:pt x="2054" y="6020"/>
                        </a:lnTo>
                        <a:lnTo>
                          <a:pt x="2082" y="6084"/>
                        </a:lnTo>
                        <a:lnTo>
                          <a:pt x="2118" y="6141"/>
                        </a:lnTo>
                        <a:lnTo>
                          <a:pt x="2162" y="6193"/>
                        </a:lnTo>
                        <a:lnTo>
                          <a:pt x="2214" y="6235"/>
                        </a:lnTo>
                        <a:lnTo>
                          <a:pt x="2272" y="6271"/>
                        </a:lnTo>
                        <a:lnTo>
                          <a:pt x="2336" y="6297"/>
                        </a:lnTo>
                        <a:lnTo>
                          <a:pt x="2403" y="6313"/>
                        </a:lnTo>
                        <a:lnTo>
                          <a:pt x="2473" y="6317"/>
                        </a:lnTo>
                        <a:lnTo>
                          <a:pt x="2545" y="6313"/>
                        </a:lnTo>
                        <a:lnTo>
                          <a:pt x="2613" y="6295"/>
                        </a:lnTo>
                        <a:lnTo>
                          <a:pt x="2675" y="6269"/>
                        </a:lnTo>
                        <a:lnTo>
                          <a:pt x="2733" y="6235"/>
                        </a:lnTo>
                        <a:lnTo>
                          <a:pt x="2784" y="6191"/>
                        </a:lnTo>
                        <a:lnTo>
                          <a:pt x="2828" y="6141"/>
                        </a:lnTo>
                        <a:lnTo>
                          <a:pt x="2864" y="6084"/>
                        </a:lnTo>
                        <a:lnTo>
                          <a:pt x="2890" y="6022"/>
                        </a:lnTo>
                        <a:lnTo>
                          <a:pt x="2908" y="5956"/>
                        </a:lnTo>
                        <a:lnTo>
                          <a:pt x="2914" y="5884"/>
                        </a:lnTo>
                        <a:lnTo>
                          <a:pt x="2914" y="5065"/>
                        </a:lnTo>
                        <a:lnTo>
                          <a:pt x="2910" y="5007"/>
                        </a:lnTo>
                        <a:lnTo>
                          <a:pt x="2898" y="4951"/>
                        </a:lnTo>
                        <a:lnTo>
                          <a:pt x="2880" y="4896"/>
                        </a:lnTo>
                        <a:lnTo>
                          <a:pt x="2838" y="4924"/>
                        </a:lnTo>
                        <a:lnTo>
                          <a:pt x="2788" y="4949"/>
                        </a:lnTo>
                        <a:lnTo>
                          <a:pt x="2733" y="4975"/>
                        </a:lnTo>
                        <a:lnTo>
                          <a:pt x="2669" y="4997"/>
                        </a:lnTo>
                        <a:lnTo>
                          <a:pt x="2601" y="5017"/>
                        </a:lnTo>
                        <a:lnTo>
                          <a:pt x="2527" y="5033"/>
                        </a:lnTo>
                        <a:lnTo>
                          <a:pt x="2447" y="5043"/>
                        </a:lnTo>
                        <a:lnTo>
                          <a:pt x="2360" y="5047"/>
                        </a:lnTo>
                        <a:lnTo>
                          <a:pt x="2326" y="5045"/>
                        </a:lnTo>
                        <a:lnTo>
                          <a:pt x="2294" y="5041"/>
                        </a:lnTo>
                        <a:lnTo>
                          <a:pt x="2266" y="5027"/>
                        </a:lnTo>
                        <a:lnTo>
                          <a:pt x="2242" y="5007"/>
                        </a:lnTo>
                        <a:lnTo>
                          <a:pt x="2224" y="4983"/>
                        </a:lnTo>
                        <a:lnTo>
                          <a:pt x="2212" y="4955"/>
                        </a:lnTo>
                        <a:lnTo>
                          <a:pt x="2208" y="4924"/>
                        </a:lnTo>
                        <a:lnTo>
                          <a:pt x="2216" y="4886"/>
                        </a:lnTo>
                        <a:lnTo>
                          <a:pt x="2234" y="4854"/>
                        </a:lnTo>
                        <a:lnTo>
                          <a:pt x="2260" y="4830"/>
                        </a:lnTo>
                        <a:lnTo>
                          <a:pt x="2292" y="4814"/>
                        </a:lnTo>
                        <a:lnTo>
                          <a:pt x="2330" y="4808"/>
                        </a:lnTo>
                        <a:lnTo>
                          <a:pt x="2334" y="4808"/>
                        </a:lnTo>
                        <a:lnTo>
                          <a:pt x="2360" y="4808"/>
                        </a:lnTo>
                        <a:lnTo>
                          <a:pt x="2439" y="4804"/>
                        </a:lnTo>
                        <a:lnTo>
                          <a:pt x="2513" y="4794"/>
                        </a:lnTo>
                        <a:lnTo>
                          <a:pt x="2577" y="4778"/>
                        </a:lnTo>
                        <a:lnTo>
                          <a:pt x="2635" y="4758"/>
                        </a:lnTo>
                        <a:lnTo>
                          <a:pt x="2685" y="4734"/>
                        </a:lnTo>
                        <a:lnTo>
                          <a:pt x="2729" y="4712"/>
                        </a:lnTo>
                        <a:lnTo>
                          <a:pt x="2762" y="4688"/>
                        </a:lnTo>
                        <a:lnTo>
                          <a:pt x="2790" y="4668"/>
                        </a:lnTo>
                        <a:lnTo>
                          <a:pt x="2810" y="4652"/>
                        </a:lnTo>
                        <a:lnTo>
                          <a:pt x="2822" y="4640"/>
                        </a:lnTo>
                        <a:lnTo>
                          <a:pt x="2862" y="4573"/>
                        </a:lnTo>
                        <a:lnTo>
                          <a:pt x="2890" y="4503"/>
                        </a:lnTo>
                        <a:lnTo>
                          <a:pt x="2908" y="4427"/>
                        </a:lnTo>
                        <a:lnTo>
                          <a:pt x="2914" y="4349"/>
                        </a:lnTo>
                        <a:lnTo>
                          <a:pt x="2914" y="3295"/>
                        </a:lnTo>
                        <a:lnTo>
                          <a:pt x="2908" y="3223"/>
                        </a:lnTo>
                        <a:lnTo>
                          <a:pt x="2894" y="3155"/>
                        </a:lnTo>
                        <a:lnTo>
                          <a:pt x="2870" y="3090"/>
                        </a:lnTo>
                        <a:lnTo>
                          <a:pt x="2838" y="3028"/>
                        </a:lnTo>
                        <a:lnTo>
                          <a:pt x="2798" y="2970"/>
                        </a:lnTo>
                        <a:lnTo>
                          <a:pt x="2750" y="2918"/>
                        </a:lnTo>
                        <a:lnTo>
                          <a:pt x="2695" y="2874"/>
                        </a:lnTo>
                        <a:lnTo>
                          <a:pt x="2635" y="2836"/>
                        </a:lnTo>
                        <a:lnTo>
                          <a:pt x="2631" y="2833"/>
                        </a:lnTo>
                        <a:lnTo>
                          <a:pt x="2627" y="2831"/>
                        </a:lnTo>
                        <a:lnTo>
                          <a:pt x="2625" y="2829"/>
                        </a:lnTo>
                        <a:lnTo>
                          <a:pt x="2621" y="2829"/>
                        </a:lnTo>
                        <a:lnTo>
                          <a:pt x="2611" y="2821"/>
                        </a:lnTo>
                        <a:lnTo>
                          <a:pt x="2591" y="2811"/>
                        </a:lnTo>
                        <a:lnTo>
                          <a:pt x="2565" y="2797"/>
                        </a:lnTo>
                        <a:lnTo>
                          <a:pt x="2531" y="2783"/>
                        </a:lnTo>
                        <a:lnTo>
                          <a:pt x="2491" y="2771"/>
                        </a:lnTo>
                        <a:lnTo>
                          <a:pt x="2447" y="2763"/>
                        </a:lnTo>
                        <a:lnTo>
                          <a:pt x="2397" y="2757"/>
                        </a:lnTo>
                        <a:lnTo>
                          <a:pt x="2344" y="2759"/>
                        </a:lnTo>
                        <a:lnTo>
                          <a:pt x="2286" y="2771"/>
                        </a:lnTo>
                        <a:lnTo>
                          <a:pt x="2226" y="2791"/>
                        </a:lnTo>
                        <a:lnTo>
                          <a:pt x="2164" y="2823"/>
                        </a:lnTo>
                        <a:lnTo>
                          <a:pt x="2102" y="2868"/>
                        </a:lnTo>
                        <a:lnTo>
                          <a:pt x="2078" y="2884"/>
                        </a:lnTo>
                        <a:lnTo>
                          <a:pt x="2050" y="2894"/>
                        </a:lnTo>
                        <a:lnTo>
                          <a:pt x="2022" y="2896"/>
                        </a:lnTo>
                        <a:lnTo>
                          <a:pt x="1989" y="2892"/>
                        </a:lnTo>
                        <a:lnTo>
                          <a:pt x="1959" y="2878"/>
                        </a:lnTo>
                        <a:lnTo>
                          <a:pt x="1931" y="2854"/>
                        </a:lnTo>
                        <a:lnTo>
                          <a:pt x="1913" y="2829"/>
                        </a:lnTo>
                        <a:lnTo>
                          <a:pt x="1905" y="2799"/>
                        </a:lnTo>
                        <a:lnTo>
                          <a:pt x="1903" y="2769"/>
                        </a:lnTo>
                        <a:lnTo>
                          <a:pt x="1909" y="2739"/>
                        </a:lnTo>
                        <a:lnTo>
                          <a:pt x="1923" y="2711"/>
                        </a:lnTo>
                        <a:lnTo>
                          <a:pt x="1945" y="2687"/>
                        </a:lnTo>
                        <a:lnTo>
                          <a:pt x="2020" y="2629"/>
                        </a:lnTo>
                        <a:lnTo>
                          <a:pt x="2098" y="2587"/>
                        </a:lnTo>
                        <a:lnTo>
                          <a:pt x="2174" y="2555"/>
                        </a:lnTo>
                        <a:lnTo>
                          <a:pt x="2250" y="2534"/>
                        </a:lnTo>
                        <a:lnTo>
                          <a:pt x="2324" y="2524"/>
                        </a:lnTo>
                        <a:lnTo>
                          <a:pt x="2395" y="2520"/>
                        </a:lnTo>
                        <a:lnTo>
                          <a:pt x="2465" y="2526"/>
                        </a:lnTo>
                        <a:lnTo>
                          <a:pt x="2529" y="2536"/>
                        </a:lnTo>
                        <a:lnTo>
                          <a:pt x="2589" y="2551"/>
                        </a:lnTo>
                        <a:lnTo>
                          <a:pt x="2645" y="2571"/>
                        </a:lnTo>
                        <a:lnTo>
                          <a:pt x="2693" y="2593"/>
                        </a:lnTo>
                        <a:lnTo>
                          <a:pt x="2748" y="2551"/>
                        </a:lnTo>
                        <a:lnTo>
                          <a:pt x="2796" y="2504"/>
                        </a:lnTo>
                        <a:lnTo>
                          <a:pt x="2836" y="2450"/>
                        </a:lnTo>
                        <a:lnTo>
                          <a:pt x="2870" y="2392"/>
                        </a:lnTo>
                        <a:lnTo>
                          <a:pt x="2894" y="2328"/>
                        </a:lnTo>
                        <a:lnTo>
                          <a:pt x="2908" y="2262"/>
                        </a:lnTo>
                        <a:lnTo>
                          <a:pt x="2914" y="2195"/>
                        </a:lnTo>
                        <a:lnTo>
                          <a:pt x="2914" y="2195"/>
                        </a:lnTo>
                        <a:lnTo>
                          <a:pt x="2914" y="480"/>
                        </a:lnTo>
                        <a:lnTo>
                          <a:pt x="2908" y="431"/>
                        </a:lnTo>
                        <a:lnTo>
                          <a:pt x="2894" y="387"/>
                        </a:lnTo>
                        <a:lnTo>
                          <a:pt x="2872" y="345"/>
                        </a:lnTo>
                        <a:lnTo>
                          <a:pt x="2842" y="309"/>
                        </a:lnTo>
                        <a:lnTo>
                          <a:pt x="2804" y="281"/>
                        </a:lnTo>
                        <a:lnTo>
                          <a:pt x="2764" y="257"/>
                        </a:lnTo>
                        <a:lnTo>
                          <a:pt x="2717" y="243"/>
                        </a:lnTo>
                        <a:lnTo>
                          <a:pt x="2669" y="239"/>
                        </a:lnTo>
                        <a:close/>
                        <a:moveTo>
                          <a:pt x="2669" y="0"/>
                        </a:moveTo>
                        <a:lnTo>
                          <a:pt x="2740" y="6"/>
                        </a:lnTo>
                        <a:lnTo>
                          <a:pt x="2808" y="20"/>
                        </a:lnTo>
                        <a:lnTo>
                          <a:pt x="2874" y="46"/>
                        </a:lnTo>
                        <a:lnTo>
                          <a:pt x="2934" y="78"/>
                        </a:lnTo>
                        <a:lnTo>
                          <a:pt x="2988" y="118"/>
                        </a:lnTo>
                        <a:lnTo>
                          <a:pt x="3036" y="165"/>
                        </a:lnTo>
                        <a:lnTo>
                          <a:pt x="3078" y="219"/>
                        </a:lnTo>
                        <a:lnTo>
                          <a:pt x="3111" y="277"/>
                        </a:lnTo>
                        <a:lnTo>
                          <a:pt x="3135" y="341"/>
                        </a:lnTo>
                        <a:lnTo>
                          <a:pt x="3151" y="409"/>
                        </a:lnTo>
                        <a:lnTo>
                          <a:pt x="3155" y="480"/>
                        </a:lnTo>
                        <a:lnTo>
                          <a:pt x="3155" y="2195"/>
                        </a:lnTo>
                        <a:lnTo>
                          <a:pt x="3149" y="2282"/>
                        </a:lnTo>
                        <a:lnTo>
                          <a:pt x="3133" y="2370"/>
                        </a:lnTo>
                        <a:lnTo>
                          <a:pt x="3105" y="2452"/>
                        </a:lnTo>
                        <a:lnTo>
                          <a:pt x="3070" y="2532"/>
                        </a:lnTo>
                        <a:lnTo>
                          <a:pt x="3024" y="2605"/>
                        </a:lnTo>
                        <a:lnTo>
                          <a:pt x="2968" y="2673"/>
                        </a:lnTo>
                        <a:lnTo>
                          <a:pt x="2904" y="2735"/>
                        </a:lnTo>
                        <a:lnTo>
                          <a:pt x="2968" y="2799"/>
                        </a:lnTo>
                        <a:lnTo>
                          <a:pt x="3024" y="2870"/>
                        </a:lnTo>
                        <a:lnTo>
                          <a:pt x="3070" y="2946"/>
                        </a:lnTo>
                        <a:lnTo>
                          <a:pt x="3107" y="3028"/>
                        </a:lnTo>
                        <a:lnTo>
                          <a:pt x="3133" y="3114"/>
                        </a:lnTo>
                        <a:lnTo>
                          <a:pt x="3149" y="3203"/>
                        </a:lnTo>
                        <a:lnTo>
                          <a:pt x="3155" y="3295"/>
                        </a:lnTo>
                        <a:lnTo>
                          <a:pt x="3155" y="4349"/>
                        </a:lnTo>
                        <a:lnTo>
                          <a:pt x="3149" y="4445"/>
                        </a:lnTo>
                        <a:lnTo>
                          <a:pt x="3131" y="4539"/>
                        </a:lnTo>
                        <a:lnTo>
                          <a:pt x="3103" y="4627"/>
                        </a:lnTo>
                        <a:lnTo>
                          <a:pt x="3062" y="4712"/>
                        </a:lnTo>
                        <a:lnTo>
                          <a:pt x="3096" y="4778"/>
                        </a:lnTo>
                        <a:lnTo>
                          <a:pt x="3121" y="4848"/>
                        </a:lnTo>
                        <a:lnTo>
                          <a:pt x="3141" y="4918"/>
                        </a:lnTo>
                        <a:lnTo>
                          <a:pt x="3151" y="4989"/>
                        </a:lnTo>
                        <a:lnTo>
                          <a:pt x="3155" y="5065"/>
                        </a:lnTo>
                        <a:lnTo>
                          <a:pt x="3155" y="5884"/>
                        </a:lnTo>
                        <a:lnTo>
                          <a:pt x="3149" y="5976"/>
                        </a:lnTo>
                        <a:lnTo>
                          <a:pt x="3131" y="6064"/>
                        </a:lnTo>
                        <a:lnTo>
                          <a:pt x="3102" y="6145"/>
                        </a:lnTo>
                        <a:lnTo>
                          <a:pt x="3062" y="6223"/>
                        </a:lnTo>
                        <a:lnTo>
                          <a:pt x="3014" y="6295"/>
                        </a:lnTo>
                        <a:lnTo>
                          <a:pt x="2956" y="6359"/>
                        </a:lnTo>
                        <a:lnTo>
                          <a:pt x="2890" y="6417"/>
                        </a:lnTo>
                        <a:lnTo>
                          <a:pt x="2818" y="6464"/>
                        </a:lnTo>
                        <a:lnTo>
                          <a:pt x="2738" y="6502"/>
                        </a:lnTo>
                        <a:lnTo>
                          <a:pt x="2655" y="6532"/>
                        </a:lnTo>
                        <a:lnTo>
                          <a:pt x="2565" y="6550"/>
                        </a:lnTo>
                        <a:lnTo>
                          <a:pt x="2473" y="6556"/>
                        </a:lnTo>
                        <a:lnTo>
                          <a:pt x="2391" y="6552"/>
                        </a:lnTo>
                        <a:lnTo>
                          <a:pt x="2314" y="6538"/>
                        </a:lnTo>
                        <a:lnTo>
                          <a:pt x="2238" y="6514"/>
                        </a:lnTo>
                        <a:lnTo>
                          <a:pt x="2166" y="6484"/>
                        </a:lnTo>
                        <a:lnTo>
                          <a:pt x="2098" y="6446"/>
                        </a:lnTo>
                        <a:lnTo>
                          <a:pt x="2036" y="6401"/>
                        </a:lnTo>
                        <a:lnTo>
                          <a:pt x="1979" y="6349"/>
                        </a:lnTo>
                        <a:lnTo>
                          <a:pt x="1929" y="6289"/>
                        </a:lnTo>
                        <a:lnTo>
                          <a:pt x="1885" y="6225"/>
                        </a:lnTo>
                        <a:lnTo>
                          <a:pt x="1817" y="6251"/>
                        </a:lnTo>
                        <a:lnTo>
                          <a:pt x="1749" y="6269"/>
                        </a:lnTo>
                        <a:lnTo>
                          <a:pt x="1679" y="6279"/>
                        </a:lnTo>
                        <a:lnTo>
                          <a:pt x="1608" y="6283"/>
                        </a:lnTo>
                        <a:lnTo>
                          <a:pt x="1516" y="6277"/>
                        </a:lnTo>
                        <a:lnTo>
                          <a:pt x="1428" y="6259"/>
                        </a:lnTo>
                        <a:lnTo>
                          <a:pt x="1344" y="6231"/>
                        </a:lnTo>
                        <a:lnTo>
                          <a:pt x="1267" y="6193"/>
                        </a:lnTo>
                        <a:lnTo>
                          <a:pt x="1195" y="6145"/>
                        </a:lnTo>
                        <a:lnTo>
                          <a:pt x="1129" y="6090"/>
                        </a:lnTo>
                        <a:lnTo>
                          <a:pt x="1071" y="6026"/>
                        </a:lnTo>
                        <a:lnTo>
                          <a:pt x="1021" y="5956"/>
                        </a:lnTo>
                        <a:lnTo>
                          <a:pt x="981" y="5880"/>
                        </a:lnTo>
                        <a:lnTo>
                          <a:pt x="951" y="5799"/>
                        </a:lnTo>
                        <a:lnTo>
                          <a:pt x="931" y="5713"/>
                        </a:lnTo>
                        <a:lnTo>
                          <a:pt x="923" y="5623"/>
                        </a:lnTo>
                        <a:lnTo>
                          <a:pt x="832" y="5591"/>
                        </a:lnTo>
                        <a:lnTo>
                          <a:pt x="744" y="5551"/>
                        </a:lnTo>
                        <a:lnTo>
                          <a:pt x="664" y="5502"/>
                        </a:lnTo>
                        <a:lnTo>
                          <a:pt x="588" y="5444"/>
                        </a:lnTo>
                        <a:lnTo>
                          <a:pt x="521" y="5378"/>
                        </a:lnTo>
                        <a:lnTo>
                          <a:pt x="459" y="5308"/>
                        </a:lnTo>
                        <a:lnTo>
                          <a:pt x="407" y="5230"/>
                        </a:lnTo>
                        <a:lnTo>
                          <a:pt x="363" y="5147"/>
                        </a:lnTo>
                        <a:lnTo>
                          <a:pt x="327" y="5061"/>
                        </a:lnTo>
                        <a:lnTo>
                          <a:pt x="301" y="4969"/>
                        </a:lnTo>
                        <a:lnTo>
                          <a:pt x="285" y="4874"/>
                        </a:lnTo>
                        <a:lnTo>
                          <a:pt x="279" y="4774"/>
                        </a:lnTo>
                        <a:lnTo>
                          <a:pt x="285" y="4672"/>
                        </a:lnTo>
                        <a:lnTo>
                          <a:pt x="303" y="4571"/>
                        </a:lnTo>
                        <a:lnTo>
                          <a:pt x="333" y="4473"/>
                        </a:lnTo>
                        <a:lnTo>
                          <a:pt x="375" y="4379"/>
                        </a:lnTo>
                        <a:lnTo>
                          <a:pt x="301" y="4328"/>
                        </a:lnTo>
                        <a:lnTo>
                          <a:pt x="233" y="4268"/>
                        </a:lnTo>
                        <a:lnTo>
                          <a:pt x="174" y="4202"/>
                        </a:lnTo>
                        <a:lnTo>
                          <a:pt x="124" y="4130"/>
                        </a:lnTo>
                        <a:lnTo>
                          <a:pt x="80" y="4052"/>
                        </a:lnTo>
                        <a:lnTo>
                          <a:pt x="46" y="3971"/>
                        </a:lnTo>
                        <a:lnTo>
                          <a:pt x="20" y="3887"/>
                        </a:lnTo>
                        <a:lnTo>
                          <a:pt x="6" y="3797"/>
                        </a:lnTo>
                        <a:lnTo>
                          <a:pt x="0" y="3708"/>
                        </a:lnTo>
                        <a:lnTo>
                          <a:pt x="6" y="3616"/>
                        </a:lnTo>
                        <a:lnTo>
                          <a:pt x="22" y="3524"/>
                        </a:lnTo>
                        <a:lnTo>
                          <a:pt x="48" y="3436"/>
                        </a:lnTo>
                        <a:lnTo>
                          <a:pt x="84" y="3353"/>
                        </a:lnTo>
                        <a:lnTo>
                          <a:pt x="130" y="3273"/>
                        </a:lnTo>
                        <a:lnTo>
                          <a:pt x="84" y="3185"/>
                        </a:lnTo>
                        <a:lnTo>
                          <a:pt x="48" y="3094"/>
                        </a:lnTo>
                        <a:lnTo>
                          <a:pt x="22" y="2998"/>
                        </a:lnTo>
                        <a:lnTo>
                          <a:pt x="6" y="2902"/>
                        </a:lnTo>
                        <a:lnTo>
                          <a:pt x="0" y="2803"/>
                        </a:lnTo>
                        <a:lnTo>
                          <a:pt x="6" y="2701"/>
                        </a:lnTo>
                        <a:lnTo>
                          <a:pt x="22" y="2601"/>
                        </a:lnTo>
                        <a:lnTo>
                          <a:pt x="50" y="2506"/>
                        </a:lnTo>
                        <a:lnTo>
                          <a:pt x="86" y="2412"/>
                        </a:lnTo>
                        <a:lnTo>
                          <a:pt x="132" y="2326"/>
                        </a:lnTo>
                        <a:lnTo>
                          <a:pt x="187" y="2242"/>
                        </a:lnTo>
                        <a:lnTo>
                          <a:pt x="251" y="2167"/>
                        </a:lnTo>
                        <a:lnTo>
                          <a:pt x="325" y="2097"/>
                        </a:lnTo>
                        <a:lnTo>
                          <a:pt x="405" y="2035"/>
                        </a:lnTo>
                        <a:lnTo>
                          <a:pt x="381" y="1959"/>
                        </a:lnTo>
                        <a:lnTo>
                          <a:pt x="367" y="1882"/>
                        </a:lnTo>
                        <a:lnTo>
                          <a:pt x="363" y="1802"/>
                        </a:lnTo>
                        <a:lnTo>
                          <a:pt x="369" y="1714"/>
                        </a:lnTo>
                        <a:lnTo>
                          <a:pt x="385" y="1629"/>
                        </a:lnTo>
                        <a:lnTo>
                          <a:pt x="413" y="1549"/>
                        </a:lnTo>
                        <a:lnTo>
                          <a:pt x="451" y="1473"/>
                        </a:lnTo>
                        <a:lnTo>
                          <a:pt x="497" y="1401"/>
                        </a:lnTo>
                        <a:lnTo>
                          <a:pt x="552" y="1338"/>
                        </a:lnTo>
                        <a:lnTo>
                          <a:pt x="614" y="1282"/>
                        </a:lnTo>
                        <a:lnTo>
                          <a:pt x="684" y="1234"/>
                        </a:lnTo>
                        <a:lnTo>
                          <a:pt x="760" y="1192"/>
                        </a:lnTo>
                        <a:lnTo>
                          <a:pt x="840" y="1162"/>
                        </a:lnTo>
                        <a:lnTo>
                          <a:pt x="925" y="1142"/>
                        </a:lnTo>
                        <a:lnTo>
                          <a:pt x="935" y="1052"/>
                        </a:lnTo>
                        <a:lnTo>
                          <a:pt x="957" y="967"/>
                        </a:lnTo>
                        <a:lnTo>
                          <a:pt x="991" y="885"/>
                        </a:lnTo>
                        <a:lnTo>
                          <a:pt x="1033" y="811"/>
                        </a:lnTo>
                        <a:lnTo>
                          <a:pt x="1085" y="742"/>
                        </a:lnTo>
                        <a:lnTo>
                          <a:pt x="1145" y="680"/>
                        </a:lnTo>
                        <a:lnTo>
                          <a:pt x="1213" y="626"/>
                        </a:lnTo>
                        <a:lnTo>
                          <a:pt x="1288" y="582"/>
                        </a:lnTo>
                        <a:lnTo>
                          <a:pt x="1368" y="546"/>
                        </a:lnTo>
                        <a:lnTo>
                          <a:pt x="1454" y="520"/>
                        </a:lnTo>
                        <a:lnTo>
                          <a:pt x="1544" y="506"/>
                        </a:lnTo>
                        <a:lnTo>
                          <a:pt x="1582" y="439"/>
                        </a:lnTo>
                        <a:lnTo>
                          <a:pt x="1628" y="377"/>
                        </a:lnTo>
                        <a:lnTo>
                          <a:pt x="1679" y="323"/>
                        </a:lnTo>
                        <a:lnTo>
                          <a:pt x="1739" y="273"/>
                        </a:lnTo>
                        <a:lnTo>
                          <a:pt x="1805" y="233"/>
                        </a:lnTo>
                        <a:lnTo>
                          <a:pt x="1873" y="199"/>
                        </a:lnTo>
                        <a:lnTo>
                          <a:pt x="1947" y="175"/>
                        </a:lnTo>
                        <a:lnTo>
                          <a:pt x="2024" y="161"/>
                        </a:lnTo>
                        <a:lnTo>
                          <a:pt x="2104" y="155"/>
                        </a:lnTo>
                        <a:lnTo>
                          <a:pt x="2164" y="159"/>
                        </a:lnTo>
                        <a:lnTo>
                          <a:pt x="2226" y="167"/>
                        </a:lnTo>
                        <a:lnTo>
                          <a:pt x="2286" y="183"/>
                        </a:lnTo>
                        <a:lnTo>
                          <a:pt x="2336" y="130"/>
                        </a:lnTo>
                        <a:lnTo>
                          <a:pt x="2391" y="86"/>
                        </a:lnTo>
                        <a:lnTo>
                          <a:pt x="2455" y="50"/>
                        </a:lnTo>
                        <a:lnTo>
                          <a:pt x="2521" y="22"/>
                        </a:lnTo>
                        <a:lnTo>
                          <a:pt x="2593" y="6"/>
                        </a:lnTo>
                        <a:lnTo>
                          <a:pt x="2669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1A88E14-4D19-41C8-16ED-3D941AF0C265}"/>
                </a:ext>
              </a:extLst>
            </p:cNvPr>
            <p:cNvSpPr txBox="1"/>
            <p:nvPr/>
          </p:nvSpPr>
          <p:spPr>
            <a:xfrm>
              <a:off x="8834200" y="3819350"/>
              <a:ext cx="2506798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en-IN" sz="1100" b="1" dirty="0">
                  <a:latin typeface="Montserrat" panose="00000500000000000000" pitchFamily="50" charset="0"/>
                  <a:cs typeface="Arial" pitchFamily="34" charset="0"/>
                </a:rPr>
                <a:t>In-Building Services</a:t>
              </a:r>
            </a:p>
            <a:p>
              <a:pPr algn="ctr" defTabSz="1218987"/>
              <a:r>
                <a:rPr lang="en-IN" sz="1100" b="1" dirty="0">
                  <a:latin typeface="Montserrat" panose="00000500000000000000" pitchFamily="50" charset="0"/>
                  <a:cs typeface="Arial" pitchFamily="34" charset="0"/>
                </a:rPr>
                <a:t>&amp; </a:t>
              </a:r>
            </a:p>
            <a:p>
              <a:pPr algn="ctr" defTabSz="1218987"/>
              <a:r>
                <a:rPr lang="en-IN" sz="1100" b="1" dirty="0">
                  <a:latin typeface="Montserrat" panose="00000500000000000000" pitchFamily="50" charset="0"/>
                  <a:cs typeface="Arial" pitchFamily="34" charset="0"/>
                </a:rPr>
                <a:t>Venue Engineering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E0CE11C-6D54-5EA2-746E-40975DEFFCED}"/>
                </a:ext>
              </a:extLst>
            </p:cNvPr>
            <p:cNvGrpSpPr/>
            <p:nvPr/>
          </p:nvGrpSpPr>
          <p:grpSpPr>
            <a:xfrm>
              <a:off x="7476932" y="3843419"/>
              <a:ext cx="1124544" cy="1100355"/>
              <a:chOff x="5717814" y="2816467"/>
              <a:chExt cx="1081325" cy="1084732"/>
            </a:xfrm>
          </p:grpSpPr>
          <p:sp>
            <p:nvSpPr>
              <p:cNvPr id="58" name="Freeform 15">
                <a:extLst>
                  <a:ext uri="{FF2B5EF4-FFF2-40B4-BE49-F238E27FC236}">
                    <a16:creationId xmlns:a16="http://schemas.microsoft.com/office/drawing/2014/main" id="{2AE6A0CD-8755-664E-1950-90D7ABA1C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814" y="2816467"/>
                <a:ext cx="1081325" cy="1084732"/>
              </a:xfrm>
              <a:custGeom>
                <a:avLst/>
                <a:gdLst>
                  <a:gd name="T0" fmla="*/ 500 w 952"/>
                  <a:gd name="T1" fmla="*/ 0 h 955"/>
                  <a:gd name="T2" fmla="*/ 552 w 952"/>
                  <a:gd name="T3" fmla="*/ 5 h 955"/>
                  <a:gd name="T4" fmla="*/ 603 w 952"/>
                  <a:gd name="T5" fmla="*/ 17 h 955"/>
                  <a:gd name="T6" fmla="*/ 653 w 952"/>
                  <a:gd name="T7" fmla="*/ 34 h 955"/>
                  <a:gd name="T8" fmla="*/ 700 w 952"/>
                  <a:gd name="T9" fmla="*/ 55 h 955"/>
                  <a:gd name="T10" fmla="*/ 746 w 952"/>
                  <a:gd name="T11" fmla="*/ 83 h 955"/>
                  <a:gd name="T12" fmla="*/ 788 w 952"/>
                  <a:gd name="T13" fmla="*/ 115 h 955"/>
                  <a:gd name="T14" fmla="*/ 827 w 952"/>
                  <a:gd name="T15" fmla="*/ 152 h 955"/>
                  <a:gd name="T16" fmla="*/ 861 w 952"/>
                  <a:gd name="T17" fmla="*/ 195 h 955"/>
                  <a:gd name="T18" fmla="*/ 891 w 952"/>
                  <a:gd name="T19" fmla="*/ 241 h 955"/>
                  <a:gd name="T20" fmla="*/ 916 w 952"/>
                  <a:gd name="T21" fmla="*/ 292 h 955"/>
                  <a:gd name="T22" fmla="*/ 934 w 952"/>
                  <a:gd name="T23" fmla="*/ 343 h 955"/>
                  <a:gd name="T24" fmla="*/ 947 w 952"/>
                  <a:gd name="T25" fmla="*/ 396 h 955"/>
                  <a:gd name="T26" fmla="*/ 952 w 952"/>
                  <a:gd name="T27" fmla="*/ 448 h 955"/>
                  <a:gd name="T28" fmla="*/ 952 w 952"/>
                  <a:gd name="T29" fmla="*/ 500 h 955"/>
                  <a:gd name="T30" fmla="*/ 947 w 952"/>
                  <a:gd name="T31" fmla="*/ 553 h 955"/>
                  <a:gd name="T32" fmla="*/ 937 w 952"/>
                  <a:gd name="T33" fmla="*/ 604 h 955"/>
                  <a:gd name="T34" fmla="*/ 920 w 952"/>
                  <a:gd name="T35" fmla="*/ 653 h 955"/>
                  <a:gd name="T36" fmla="*/ 897 w 952"/>
                  <a:gd name="T37" fmla="*/ 702 h 955"/>
                  <a:gd name="T38" fmla="*/ 870 w 952"/>
                  <a:gd name="T39" fmla="*/ 746 h 955"/>
                  <a:gd name="T40" fmla="*/ 839 w 952"/>
                  <a:gd name="T41" fmla="*/ 788 h 955"/>
                  <a:gd name="T42" fmla="*/ 801 w 952"/>
                  <a:gd name="T43" fmla="*/ 828 h 955"/>
                  <a:gd name="T44" fmla="*/ 759 w 952"/>
                  <a:gd name="T45" fmla="*/ 862 h 955"/>
                  <a:gd name="T46" fmla="*/ 712 w 952"/>
                  <a:gd name="T47" fmla="*/ 893 h 955"/>
                  <a:gd name="T48" fmla="*/ 662 w 952"/>
                  <a:gd name="T49" fmla="*/ 917 h 955"/>
                  <a:gd name="T50" fmla="*/ 611 w 952"/>
                  <a:gd name="T51" fmla="*/ 935 h 955"/>
                  <a:gd name="T52" fmla="*/ 559 w 952"/>
                  <a:gd name="T53" fmla="*/ 948 h 955"/>
                  <a:gd name="T54" fmla="*/ 505 w 952"/>
                  <a:gd name="T55" fmla="*/ 953 h 955"/>
                  <a:gd name="T56" fmla="*/ 453 w 952"/>
                  <a:gd name="T57" fmla="*/ 955 h 955"/>
                  <a:gd name="T58" fmla="*/ 400 w 952"/>
                  <a:gd name="T59" fmla="*/ 948 h 955"/>
                  <a:gd name="T60" fmla="*/ 349 w 952"/>
                  <a:gd name="T61" fmla="*/ 938 h 955"/>
                  <a:gd name="T62" fmla="*/ 300 w 952"/>
                  <a:gd name="T63" fmla="*/ 921 h 955"/>
                  <a:gd name="T64" fmla="*/ 252 w 952"/>
                  <a:gd name="T65" fmla="*/ 898 h 955"/>
                  <a:gd name="T66" fmla="*/ 207 w 952"/>
                  <a:gd name="T67" fmla="*/ 872 h 955"/>
                  <a:gd name="T68" fmla="*/ 165 w 952"/>
                  <a:gd name="T69" fmla="*/ 839 h 955"/>
                  <a:gd name="T70" fmla="*/ 127 w 952"/>
                  <a:gd name="T71" fmla="*/ 801 h 955"/>
                  <a:gd name="T72" fmla="*/ 91 w 952"/>
                  <a:gd name="T73" fmla="*/ 760 h 955"/>
                  <a:gd name="T74" fmla="*/ 61 w 952"/>
                  <a:gd name="T75" fmla="*/ 712 h 955"/>
                  <a:gd name="T76" fmla="*/ 37 w 952"/>
                  <a:gd name="T77" fmla="*/ 663 h 955"/>
                  <a:gd name="T78" fmla="*/ 18 w 952"/>
                  <a:gd name="T79" fmla="*/ 612 h 955"/>
                  <a:gd name="T80" fmla="*/ 6 w 952"/>
                  <a:gd name="T81" fmla="*/ 559 h 955"/>
                  <a:gd name="T82" fmla="*/ 0 w 952"/>
                  <a:gd name="T83" fmla="*/ 507 h 955"/>
                  <a:gd name="T84" fmla="*/ 0 w 952"/>
                  <a:gd name="T85" fmla="*/ 453 h 955"/>
                  <a:gd name="T86" fmla="*/ 5 w 952"/>
                  <a:gd name="T87" fmla="*/ 402 h 955"/>
                  <a:gd name="T88" fmla="*/ 17 w 952"/>
                  <a:gd name="T89" fmla="*/ 350 h 955"/>
                  <a:gd name="T90" fmla="*/ 33 w 952"/>
                  <a:gd name="T91" fmla="*/ 301 h 955"/>
                  <a:gd name="T92" fmla="*/ 55 w 952"/>
                  <a:gd name="T93" fmla="*/ 253 h 955"/>
                  <a:gd name="T94" fmla="*/ 82 w 952"/>
                  <a:gd name="T95" fmla="*/ 208 h 955"/>
                  <a:gd name="T96" fmla="*/ 115 w 952"/>
                  <a:gd name="T97" fmla="*/ 165 h 955"/>
                  <a:gd name="T98" fmla="*/ 152 w 952"/>
                  <a:gd name="T99" fmla="*/ 127 h 955"/>
                  <a:gd name="T100" fmla="*/ 194 w 952"/>
                  <a:gd name="T101" fmla="*/ 92 h 955"/>
                  <a:gd name="T102" fmla="*/ 241 w 952"/>
                  <a:gd name="T103" fmla="*/ 62 h 955"/>
                  <a:gd name="T104" fmla="*/ 290 w 952"/>
                  <a:gd name="T105" fmla="*/ 37 h 955"/>
                  <a:gd name="T106" fmla="*/ 343 w 952"/>
                  <a:gd name="T107" fmla="*/ 19 h 955"/>
                  <a:gd name="T108" fmla="*/ 395 w 952"/>
                  <a:gd name="T109" fmla="*/ 7 h 955"/>
                  <a:gd name="T110" fmla="*/ 447 w 952"/>
                  <a:gd name="T111" fmla="*/ 0 h 955"/>
                  <a:gd name="T112" fmla="*/ 500 w 952"/>
                  <a:gd name="T113" fmla="*/ 0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52" h="955">
                    <a:moveTo>
                      <a:pt x="500" y="0"/>
                    </a:moveTo>
                    <a:lnTo>
                      <a:pt x="552" y="5"/>
                    </a:lnTo>
                    <a:lnTo>
                      <a:pt x="603" y="17"/>
                    </a:lnTo>
                    <a:lnTo>
                      <a:pt x="653" y="34"/>
                    </a:lnTo>
                    <a:lnTo>
                      <a:pt x="700" y="55"/>
                    </a:lnTo>
                    <a:lnTo>
                      <a:pt x="746" y="83"/>
                    </a:lnTo>
                    <a:lnTo>
                      <a:pt x="788" y="115"/>
                    </a:lnTo>
                    <a:lnTo>
                      <a:pt x="827" y="152"/>
                    </a:lnTo>
                    <a:lnTo>
                      <a:pt x="861" y="195"/>
                    </a:lnTo>
                    <a:lnTo>
                      <a:pt x="891" y="241"/>
                    </a:lnTo>
                    <a:lnTo>
                      <a:pt x="916" y="292"/>
                    </a:lnTo>
                    <a:lnTo>
                      <a:pt x="934" y="343"/>
                    </a:lnTo>
                    <a:lnTo>
                      <a:pt x="947" y="396"/>
                    </a:lnTo>
                    <a:lnTo>
                      <a:pt x="952" y="448"/>
                    </a:lnTo>
                    <a:lnTo>
                      <a:pt x="952" y="500"/>
                    </a:lnTo>
                    <a:lnTo>
                      <a:pt x="947" y="553"/>
                    </a:lnTo>
                    <a:lnTo>
                      <a:pt x="937" y="604"/>
                    </a:lnTo>
                    <a:lnTo>
                      <a:pt x="920" y="653"/>
                    </a:lnTo>
                    <a:lnTo>
                      <a:pt x="897" y="702"/>
                    </a:lnTo>
                    <a:lnTo>
                      <a:pt x="870" y="746"/>
                    </a:lnTo>
                    <a:lnTo>
                      <a:pt x="839" y="788"/>
                    </a:lnTo>
                    <a:lnTo>
                      <a:pt x="801" y="828"/>
                    </a:lnTo>
                    <a:lnTo>
                      <a:pt x="759" y="862"/>
                    </a:lnTo>
                    <a:lnTo>
                      <a:pt x="712" y="893"/>
                    </a:lnTo>
                    <a:lnTo>
                      <a:pt x="662" y="917"/>
                    </a:lnTo>
                    <a:lnTo>
                      <a:pt x="611" y="935"/>
                    </a:lnTo>
                    <a:lnTo>
                      <a:pt x="559" y="948"/>
                    </a:lnTo>
                    <a:lnTo>
                      <a:pt x="505" y="953"/>
                    </a:lnTo>
                    <a:lnTo>
                      <a:pt x="453" y="955"/>
                    </a:lnTo>
                    <a:lnTo>
                      <a:pt x="400" y="948"/>
                    </a:lnTo>
                    <a:lnTo>
                      <a:pt x="349" y="938"/>
                    </a:lnTo>
                    <a:lnTo>
                      <a:pt x="300" y="921"/>
                    </a:lnTo>
                    <a:lnTo>
                      <a:pt x="252" y="898"/>
                    </a:lnTo>
                    <a:lnTo>
                      <a:pt x="207" y="872"/>
                    </a:lnTo>
                    <a:lnTo>
                      <a:pt x="165" y="839"/>
                    </a:lnTo>
                    <a:lnTo>
                      <a:pt x="127" y="801"/>
                    </a:lnTo>
                    <a:lnTo>
                      <a:pt x="91" y="760"/>
                    </a:lnTo>
                    <a:lnTo>
                      <a:pt x="61" y="712"/>
                    </a:lnTo>
                    <a:lnTo>
                      <a:pt x="37" y="663"/>
                    </a:lnTo>
                    <a:lnTo>
                      <a:pt x="18" y="612"/>
                    </a:lnTo>
                    <a:lnTo>
                      <a:pt x="6" y="559"/>
                    </a:lnTo>
                    <a:lnTo>
                      <a:pt x="0" y="507"/>
                    </a:lnTo>
                    <a:lnTo>
                      <a:pt x="0" y="453"/>
                    </a:lnTo>
                    <a:lnTo>
                      <a:pt x="5" y="402"/>
                    </a:lnTo>
                    <a:lnTo>
                      <a:pt x="17" y="350"/>
                    </a:lnTo>
                    <a:lnTo>
                      <a:pt x="33" y="301"/>
                    </a:lnTo>
                    <a:lnTo>
                      <a:pt x="55" y="253"/>
                    </a:lnTo>
                    <a:lnTo>
                      <a:pt x="82" y="208"/>
                    </a:lnTo>
                    <a:lnTo>
                      <a:pt x="115" y="165"/>
                    </a:lnTo>
                    <a:lnTo>
                      <a:pt x="152" y="127"/>
                    </a:lnTo>
                    <a:lnTo>
                      <a:pt x="194" y="92"/>
                    </a:lnTo>
                    <a:lnTo>
                      <a:pt x="241" y="62"/>
                    </a:lnTo>
                    <a:lnTo>
                      <a:pt x="290" y="37"/>
                    </a:lnTo>
                    <a:lnTo>
                      <a:pt x="343" y="19"/>
                    </a:lnTo>
                    <a:lnTo>
                      <a:pt x="395" y="7"/>
                    </a:lnTo>
                    <a:lnTo>
                      <a:pt x="447" y="0"/>
                    </a:lnTo>
                    <a:lnTo>
                      <a:pt x="500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pic>
            <p:nvPicPr>
              <p:cNvPr id="59" name="Graphic 58" descr="Binoculars">
                <a:extLst>
                  <a:ext uri="{FF2B5EF4-FFF2-40B4-BE49-F238E27FC236}">
                    <a16:creationId xmlns:a16="http://schemas.microsoft.com/office/drawing/2014/main" id="{D5F5FADE-AE0D-AE19-134D-3E89DF1EDC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930328" y="3008569"/>
                <a:ext cx="656297" cy="656297"/>
              </a:xfrm>
              <a:prstGeom prst="rect">
                <a:avLst/>
              </a:prstGeom>
            </p:spPr>
          </p:pic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A0CA2E5-00F2-2074-3743-CE8F98192117}"/>
                </a:ext>
              </a:extLst>
            </p:cNvPr>
            <p:cNvSpPr txBox="1"/>
            <p:nvPr/>
          </p:nvSpPr>
          <p:spPr>
            <a:xfrm>
              <a:off x="7962934" y="5436073"/>
              <a:ext cx="2342346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Site Commissioning </a:t>
              </a:r>
            </a:p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&amp; </a:t>
              </a:r>
            </a:p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Integration</a:t>
              </a:r>
              <a:endParaRPr lang="en-IN" sz="1100" b="1" dirty="0">
                <a:latin typeface="Montserrat" panose="00000500000000000000" pitchFamily="50" charset="0"/>
                <a:cs typeface="Arial" pitchFamily="34" charset="0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5C4778F-A745-6309-5700-27D9F38BD068}"/>
                </a:ext>
              </a:extLst>
            </p:cNvPr>
            <p:cNvGrpSpPr/>
            <p:nvPr/>
          </p:nvGrpSpPr>
          <p:grpSpPr>
            <a:xfrm>
              <a:off x="6547591" y="5170076"/>
              <a:ext cx="1125725" cy="1100355"/>
              <a:chOff x="5716678" y="4697426"/>
              <a:chExt cx="1082461" cy="1084732"/>
            </a:xfrm>
          </p:grpSpPr>
          <p:sp>
            <p:nvSpPr>
              <p:cNvPr id="52" name="Freeform 16">
                <a:extLst>
                  <a:ext uri="{FF2B5EF4-FFF2-40B4-BE49-F238E27FC236}">
                    <a16:creationId xmlns:a16="http://schemas.microsoft.com/office/drawing/2014/main" id="{EFA00656-B795-27ED-BB51-F9F1B98AC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6678" y="4697426"/>
                <a:ext cx="1082461" cy="1084732"/>
              </a:xfrm>
              <a:custGeom>
                <a:avLst/>
                <a:gdLst>
                  <a:gd name="T0" fmla="*/ 460 w 953"/>
                  <a:gd name="T1" fmla="*/ 0 h 955"/>
                  <a:gd name="T2" fmla="*/ 514 w 953"/>
                  <a:gd name="T3" fmla="*/ 2 h 955"/>
                  <a:gd name="T4" fmla="*/ 566 w 953"/>
                  <a:gd name="T5" fmla="*/ 8 h 955"/>
                  <a:gd name="T6" fmla="*/ 618 w 953"/>
                  <a:gd name="T7" fmla="*/ 21 h 955"/>
                  <a:gd name="T8" fmla="*/ 669 w 953"/>
                  <a:gd name="T9" fmla="*/ 41 h 955"/>
                  <a:gd name="T10" fmla="*/ 719 w 953"/>
                  <a:gd name="T11" fmla="*/ 66 h 955"/>
                  <a:gd name="T12" fmla="*/ 765 w 953"/>
                  <a:gd name="T13" fmla="*/ 97 h 955"/>
                  <a:gd name="T14" fmla="*/ 807 w 953"/>
                  <a:gd name="T15" fmla="*/ 132 h 955"/>
                  <a:gd name="T16" fmla="*/ 843 w 953"/>
                  <a:gd name="T17" fmla="*/ 172 h 955"/>
                  <a:gd name="T18" fmla="*/ 875 w 953"/>
                  <a:gd name="T19" fmla="*/ 215 h 955"/>
                  <a:gd name="T20" fmla="*/ 901 w 953"/>
                  <a:gd name="T21" fmla="*/ 259 h 955"/>
                  <a:gd name="T22" fmla="*/ 923 w 953"/>
                  <a:gd name="T23" fmla="*/ 308 h 955"/>
                  <a:gd name="T24" fmla="*/ 939 w 953"/>
                  <a:gd name="T25" fmla="*/ 358 h 955"/>
                  <a:gd name="T26" fmla="*/ 949 w 953"/>
                  <a:gd name="T27" fmla="*/ 409 h 955"/>
                  <a:gd name="T28" fmla="*/ 953 w 953"/>
                  <a:gd name="T29" fmla="*/ 461 h 955"/>
                  <a:gd name="T30" fmla="*/ 952 w 953"/>
                  <a:gd name="T31" fmla="*/ 515 h 955"/>
                  <a:gd name="T32" fmla="*/ 946 w 953"/>
                  <a:gd name="T33" fmla="*/ 567 h 955"/>
                  <a:gd name="T34" fmla="*/ 932 w 953"/>
                  <a:gd name="T35" fmla="*/ 619 h 955"/>
                  <a:gd name="T36" fmla="*/ 913 w 953"/>
                  <a:gd name="T37" fmla="*/ 670 h 955"/>
                  <a:gd name="T38" fmla="*/ 888 w 953"/>
                  <a:gd name="T39" fmla="*/ 720 h 955"/>
                  <a:gd name="T40" fmla="*/ 857 w 953"/>
                  <a:gd name="T41" fmla="*/ 766 h 955"/>
                  <a:gd name="T42" fmla="*/ 821 w 953"/>
                  <a:gd name="T43" fmla="*/ 808 h 955"/>
                  <a:gd name="T44" fmla="*/ 782 w 953"/>
                  <a:gd name="T45" fmla="*/ 845 h 955"/>
                  <a:gd name="T46" fmla="*/ 740 w 953"/>
                  <a:gd name="T47" fmla="*/ 876 h 955"/>
                  <a:gd name="T48" fmla="*/ 694 w 953"/>
                  <a:gd name="T49" fmla="*/ 902 h 955"/>
                  <a:gd name="T50" fmla="*/ 646 w 953"/>
                  <a:gd name="T51" fmla="*/ 923 h 955"/>
                  <a:gd name="T52" fmla="*/ 596 w 953"/>
                  <a:gd name="T53" fmla="*/ 940 h 955"/>
                  <a:gd name="T54" fmla="*/ 545 w 953"/>
                  <a:gd name="T55" fmla="*/ 951 h 955"/>
                  <a:gd name="T56" fmla="*/ 493 w 953"/>
                  <a:gd name="T57" fmla="*/ 955 h 955"/>
                  <a:gd name="T58" fmla="*/ 440 w 953"/>
                  <a:gd name="T59" fmla="*/ 953 h 955"/>
                  <a:gd name="T60" fmla="*/ 388 w 953"/>
                  <a:gd name="T61" fmla="*/ 947 h 955"/>
                  <a:gd name="T62" fmla="*/ 336 w 953"/>
                  <a:gd name="T63" fmla="*/ 934 h 955"/>
                  <a:gd name="T64" fmla="*/ 285 w 953"/>
                  <a:gd name="T65" fmla="*/ 914 h 955"/>
                  <a:gd name="T66" fmla="*/ 235 w 953"/>
                  <a:gd name="T67" fmla="*/ 889 h 955"/>
                  <a:gd name="T68" fmla="*/ 188 w 953"/>
                  <a:gd name="T69" fmla="*/ 858 h 955"/>
                  <a:gd name="T70" fmla="*/ 147 w 953"/>
                  <a:gd name="T71" fmla="*/ 822 h 955"/>
                  <a:gd name="T72" fmla="*/ 111 w 953"/>
                  <a:gd name="T73" fmla="*/ 783 h 955"/>
                  <a:gd name="T74" fmla="*/ 78 w 953"/>
                  <a:gd name="T75" fmla="*/ 741 h 955"/>
                  <a:gd name="T76" fmla="*/ 52 w 953"/>
                  <a:gd name="T77" fmla="*/ 695 h 955"/>
                  <a:gd name="T78" fmla="*/ 31 w 953"/>
                  <a:gd name="T79" fmla="*/ 647 h 955"/>
                  <a:gd name="T80" fmla="*/ 15 w 953"/>
                  <a:gd name="T81" fmla="*/ 597 h 955"/>
                  <a:gd name="T82" fmla="*/ 5 w 953"/>
                  <a:gd name="T83" fmla="*/ 546 h 955"/>
                  <a:gd name="T84" fmla="*/ 0 w 953"/>
                  <a:gd name="T85" fmla="*/ 494 h 955"/>
                  <a:gd name="T86" fmla="*/ 1 w 953"/>
                  <a:gd name="T87" fmla="*/ 441 h 955"/>
                  <a:gd name="T88" fmla="*/ 7 w 953"/>
                  <a:gd name="T89" fmla="*/ 388 h 955"/>
                  <a:gd name="T90" fmla="*/ 21 w 953"/>
                  <a:gd name="T91" fmla="*/ 337 h 955"/>
                  <a:gd name="T92" fmla="*/ 40 w 953"/>
                  <a:gd name="T93" fmla="*/ 286 h 955"/>
                  <a:gd name="T94" fmla="*/ 65 w 953"/>
                  <a:gd name="T95" fmla="*/ 236 h 955"/>
                  <a:gd name="T96" fmla="*/ 96 w 953"/>
                  <a:gd name="T97" fmla="*/ 189 h 955"/>
                  <a:gd name="T98" fmla="*/ 132 w 953"/>
                  <a:gd name="T99" fmla="*/ 148 h 955"/>
                  <a:gd name="T100" fmla="*/ 171 w 953"/>
                  <a:gd name="T101" fmla="*/ 110 h 955"/>
                  <a:gd name="T102" fmla="*/ 214 w 953"/>
                  <a:gd name="T103" fmla="*/ 79 h 955"/>
                  <a:gd name="T104" fmla="*/ 259 w 953"/>
                  <a:gd name="T105" fmla="*/ 53 h 955"/>
                  <a:gd name="T106" fmla="*/ 307 w 953"/>
                  <a:gd name="T107" fmla="*/ 32 h 955"/>
                  <a:gd name="T108" fmla="*/ 357 w 953"/>
                  <a:gd name="T109" fmla="*/ 16 h 955"/>
                  <a:gd name="T110" fmla="*/ 408 w 953"/>
                  <a:gd name="T111" fmla="*/ 5 h 955"/>
                  <a:gd name="T112" fmla="*/ 460 w 953"/>
                  <a:gd name="T113" fmla="*/ 0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53" h="955">
                    <a:moveTo>
                      <a:pt x="460" y="0"/>
                    </a:moveTo>
                    <a:lnTo>
                      <a:pt x="514" y="2"/>
                    </a:lnTo>
                    <a:lnTo>
                      <a:pt x="566" y="8"/>
                    </a:lnTo>
                    <a:lnTo>
                      <a:pt x="618" y="21"/>
                    </a:lnTo>
                    <a:lnTo>
                      <a:pt x="669" y="41"/>
                    </a:lnTo>
                    <a:lnTo>
                      <a:pt x="719" y="66"/>
                    </a:lnTo>
                    <a:lnTo>
                      <a:pt x="765" y="97"/>
                    </a:lnTo>
                    <a:lnTo>
                      <a:pt x="807" y="132"/>
                    </a:lnTo>
                    <a:lnTo>
                      <a:pt x="843" y="172"/>
                    </a:lnTo>
                    <a:lnTo>
                      <a:pt x="875" y="215"/>
                    </a:lnTo>
                    <a:lnTo>
                      <a:pt x="901" y="259"/>
                    </a:lnTo>
                    <a:lnTo>
                      <a:pt x="923" y="308"/>
                    </a:lnTo>
                    <a:lnTo>
                      <a:pt x="939" y="358"/>
                    </a:lnTo>
                    <a:lnTo>
                      <a:pt x="949" y="409"/>
                    </a:lnTo>
                    <a:lnTo>
                      <a:pt x="953" y="461"/>
                    </a:lnTo>
                    <a:lnTo>
                      <a:pt x="952" y="515"/>
                    </a:lnTo>
                    <a:lnTo>
                      <a:pt x="946" y="567"/>
                    </a:lnTo>
                    <a:lnTo>
                      <a:pt x="932" y="619"/>
                    </a:lnTo>
                    <a:lnTo>
                      <a:pt x="913" y="670"/>
                    </a:lnTo>
                    <a:lnTo>
                      <a:pt x="888" y="720"/>
                    </a:lnTo>
                    <a:lnTo>
                      <a:pt x="857" y="766"/>
                    </a:lnTo>
                    <a:lnTo>
                      <a:pt x="821" y="808"/>
                    </a:lnTo>
                    <a:lnTo>
                      <a:pt x="782" y="845"/>
                    </a:lnTo>
                    <a:lnTo>
                      <a:pt x="740" y="876"/>
                    </a:lnTo>
                    <a:lnTo>
                      <a:pt x="694" y="902"/>
                    </a:lnTo>
                    <a:lnTo>
                      <a:pt x="646" y="923"/>
                    </a:lnTo>
                    <a:lnTo>
                      <a:pt x="596" y="940"/>
                    </a:lnTo>
                    <a:lnTo>
                      <a:pt x="545" y="951"/>
                    </a:lnTo>
                    <a:lnTo>
                      <a:pt x="493" y="955"/>
                    </a:lnTo>
                    <a:lnTo>
                      <a:pt x="440" y="953"/>
                    </a:lnTo>
                    <a:lnTo>
                      <a:pt x="388" y="947"/>
                    </a:lnTo>
                    <a:lnTo>
                      <a:pt x="336" y="934"/>
                    </a:lnTo>
                    <a:lnTo>
                      <a:pt x="285" y="914"/>
                    </a:lnTo>
                    <a:lnTo>
                      <a:pt x="235" y="889"/>
                    </a:lnTo>
                    <a:lnTo>
                      <a:pt x="188" y="858"/>
                    </a:lnTo>
                    <a:lnTo>
                      <a:pt x="147" y="822"/>
                    </a:lnTo>
                    <a:lnTo>
                      <a:pt x="111" y="783"/>
                    </a:lnTo>
                    <a:lnTo>
                      <a:pt x="78" y="741"/>
                    </a:lnTo>
                    <a:lnTo>
                      <a:pt x="52" y="695"/>
                    </a:lnTo>
                    <a:lnTo>
                      <a:pt x="31" y="647"/>
                    </a:lnTo>
                    <a:lnTo>
                      <a:pt x="15" y="597"/>
                    </a:lnTo>
                    <a:lnTo>
                      <a:pt x="5" y="546"/>
                    </a:lnTo>
                    <a:lnTo>
                      <a:pt x="0" y="494"/>
                    </a:lnTo>
                    <a:lnTo>
                      <a:pt x="1" y="441"/>
                    </a:lnTo>
                    <a:lnTo>
                      <a:pt x="7" y="388"/>
                    </a:lnTo>
                    <a:lnTo>
                      <a:pt x="21" y="337"/>
                    </a:lnTo>
                    <a:lnTo>
                      <a:pt x="40" y="286"/>
                    </a:lnTo>
                    <a:lnTo>
                      <a:pt x="65" y="236"/>
                    </a:lnTo>
                    <a:lnTo>
                      <a:pt x="96" y="189"/>
                    </a:lnTo>
                    <a:lnTo>
                      <a:pt x="132" y="148"/>
                    </a:lnTo>
                    <a:lnTo>
                      <a:pt x="171" y="110"/>
                    </a:lnTo>
                    <a:lnTo>
                      <a:pt x="214" y="79"/>
                    </a:lnTo>
                    <a:lnTo>
                      <a:pt x="259" y="53"/>
                    </a:lnTo>
                    <a:lnTo>
                      <a:pt x="307" y="32"/>
                    </a:lnTo>
                    <a:lnTo>
                      <a:pt x="357" y="16"/>
                    </a:lnTo>
                    <a:lnTo>
                      <a:pt x="408" y="5"/>
                    </a:lnTo>
                    <a:lnTo>
                      <a:pt x="460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23ACEB67-51D1-5F37-94B2-D62BAAE0AC30}"/>
                  </a:ext>
                </a:extLst>
              </p:cNvPr>
              <p:cNvGrpSpPr/>
              <p:nvPr/>
            </p:nvGrpSpPr>
            <p:grpSpPr>
              <a:xfrm>
                <a:off x="6004084" y="4980935"/>
                <a:ext cx="518237" cy="517713"/>
                <a:chOff x="9896476" y="2252663"/>
                <a:chExt cx="4708525" cy="4703763"/>
              </a:xfrm>
              <a:solidFill>
                <a:schemeClr val="bg1"/>
              </a:solidFill>
            </p:grpSpPr>
            <p:sp>
              <p:nvSpPr>
                <p:cNvPr id="54" name="Freeform 36">
                  <a:extLst>
                    <a:ext uri="{FF2B5EF4-FFF2-40B4-BE49-F238E27FC236}">
                      <a16:creationId xmlns:a16="http://schemas.microsoft.com/office/drawing/2014/main" id="{91F65F13-818F-86C6-A6AC-2EFBAA2903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96476" y="2252663"/>
                  <a:ext cx="4708525" cy="4703763"/>
                </a:xfrm>
                <a:custGeom>
                  <a:avLst/>
                  <a:gdLst>
                    <a:gd name="T0" fmla="*/ 208 w 5931"/>
                    <a:gd name="T1" fmla="*/ 5324 h 5927"/>
                    <a:gd name="T2" fmla="*/ 228 w 5931"/>
                    <a:gd name="T3" fmla="*/ 5564 h 5927"/>
                    <a:gd name="T4" fmla="*/ 410 w 5931"/>
                    <a:gd name="T5" fmla="*/ 5719 h 5927"/>
                    <a:gd name="T6" fmla="*/ 650 w 5931"/>
                    <a:gd name="T7" fmla="*/ 5701 h 5927"/>
                    <a:gd name="T8" fmla="*/ 1737 w 5931"/>
                    <a:gd name="T9" fmla="*/ 3880 h 5927"/>
                    <a:gd name="T10" fmla="*/ 1533 w 5931"/>
                    <a:gd name="T11" fmla="*/ 3955 h 5927"/>
                    <a:gd name="T12" fmla="*/ 2051 w 5931"/>
                    <a:gd name="T13" fmla="*/ 4193 h 5927"/>
                    <a:gd name="T14" fmla="*/ 1959 w 5931"/>
                    <a:gd name="T15" fmla="*/ 3972 h 5927"/>
                    <a:gd name="T16" fmla="*/ 1737 w 5931"/>
                    <a:gd name="T17" fmla="*/ 3880 h 5927"/>
                    <a:gd name="T18" fmla="*/ 2123 w 5931"/>
                    <a:gd name="T19" fmla="*/ 3867 h 5927"/>
                    <a:gd name="T20" fmla="*/ 3888 w 5931"/>
                    <a:gd name="T21" fmla="*/ 193 h 5927"/>
                    <a:gd name="T22" fmla="*/ 3200 w 5931"/>
                    <a:gd name="T23" fmla="*/ 325 h 5927"/>
                    <a:gd name="T24" fmla="*/ 2630 w 5931"/>
                    <a:gd name="T25" fmla="*/ 687 h 5927"/>
                    <a:gd name="T26" fmla="*/ 2226 w 5931"/>
                    <a:gd name="T27" fmla="*/ 1230 h 5927"/>
                    <a:gd name="T28" fmla="*/ 2043 w 5931"/>
                    <a:gd name="T29" fmla="*/ 1897 h 5927"/>
                    <a:gd name="T30" fmla="*/ 2123 w 5931"/>
                    <a:gd name="T31" fmla="*/ 2599 h 5927"/>
                    <a:gd name="T32" fmla="*/ 2444 w 5931"/>
                    <a:gd name="T33" fmla="*/ 3198 h 5927"/>
                    <a:gd name="T34" fmla="*/ 2955 w 5931"/>
                    <a:gd name="T35" fmla="*/ 3640 h 5927"/>
                    <a:gd name="T36" fmla="*/ 3603 w 5931"/>
                    <a:gd name="T37" fmla="*/ 3871 h 5927"/>
                    <a:gd name="T38" fmla="*/ 4312 w 5931"/>
                    <a:gd name="T39" fmla="*/ 3844 h 5927"/>
                    <a:gd name="T40" fmla="*/ 4937 w 5931"/>
                    <a:gd name="T41" fmla="*/ 3566 h 5927"/>
                    <a:gd name="T42" fmla="*/ 5413 w 5931"/>
                    <a:gd name="T43" fmla="*/ 3090 h 5927"/>
                    <a:gd name="T44" fmla="*/ 5691 w 5931"/>
                    <a:gd name="T45" fmla="*/ 2466 h 5927"/>
                    <a:gd name="T46" fmla="*/ 5718 w 5931"/>
                    <a:gd name="T47" fmla="*/ 1757 h 5927"/>
                    <a:gd name="T48" fmla="*/ 5487 w 5931"/>
                    <a:gd name="T49" fmla="*/ 1109 h 5927"/>
                    <a:gd name="T50" fmla="*/ 5045 w 5931"/>
                    <a:gd name="T51" fmla="*/ 599 h 5927"/>
                    <a:gd name="T52" fmla="*/ 4448 w 5931"/>
                    <a:gd name="T53" fmla="*/ 278 h 5927"/>
                    <a:gd name="T54" fmla="*/ 3888 w 5931"/>
                    <a:gd name="T55" fmla="*/ 0 h 5927"/>
                    <a:gd name="T56" fmla="*/ 4615 w 5931"/>
                    <a:gd name="T57" fmla="*/ 133 h 5927"/>
                    <a:gd name="T58" fmla="*/ 5229 w 5931"/>
                    <a:gd name="T59" fmla="*/ 501 h 5927"/>
                    <a:gd name="T60" fmla="*/ 5677 w 5931"/>
                    <a:gd name="T61" fmla="*/ 1053 h 5927"/>
                    <a:gd name="T62" fmla="*/ 5910 w 5931"/>
                    <a:gd name="T63" fmla="*/ 1741 h 5927"/>
                    <a:gd name="T64" fmla="*/ 5882 w 5931"/>
                    <a:gd name="T65" fmla="*/ 2489 h 5927"/>
                    <a:gd name="T66" fmla="*/ 5603 w 5931"/>
                    <a:gd name="T67" fmla="*/ 3153 h 5927"/>
                    <a:gd name="T68" fmla="*/ 5117 w 5931"/>
                    <a:gd name="T69" fmla="*/ 3672 h 5927"/>
                    <a:gd name="T70" fmla="*/ 4478 w 5931"/>
                    <a:gd name="T71" fmla="*/ 3997 h 5927"/>
                    <a:gd name="T72" fmla="*/ 3735 w 5931"/>
                    <a:gd name="T73" fmla="*/ 4078 h 5927"/>
                    <a:gd name="T74" fmla="*/ 3023 w 5931"/>
                    <a:gd name="T75" fmla="*/ 3892 h 5927"/>
                    <a:gd name="T76" fmla="*/ 2231 w 5931"/>
                    <a:gd name="T77" fmla="*/ 4089 h 5927"/>
                    <a:gd name="T78" fmla="*/ 2204 w 5931"/>
                    <a:gd name="T79" fmla="*/ 4386 h 5927"/>
                    <a:gd name="T80" fmla="*/ 814 w 5931"/>
                    <a:gd name="T81" fmla="*/ 5822 h 5927"/>
                    <a:gd name="T82" fmla="*/ 507 w 5931"/>
                    <a:gd name="T83" fmla="*/ 5927 h 5927"/>
                    <a:gd name="T84" fmla="*/ 199 w 5931"/>
                    <a:gd name="T85" fmla="*/ 5822 h 5927"/>
                    <a:gd name="T86" fmla="*/ 18 w 5931"/>
                    <a:gd name="T87" fmla="*/ 5553 h 5927"/>
                    <a:gd name="T88" fmla="*/ 40 w 5931"/>
                    <a:gd name="T89" fmla="*/ 5227 h 5927"/>
                    <a:gd name="T90" fmla="*/ 1430 w 5931"/>
                    <a:gd name="T91" fmla="*/ 3791 h 5927"/>
                    <a:gd name="T92" fmla="*/ 1737 w 5931"/>
                    <a:gd name="T93" fmla="*/ 3687 h 5927"/>
                    <a:gd name="T94" fmla="*/ 2179 w 5931"/>
                    <a:gd name="T95" fmla="*/ 3158 h 5927"/>
                    <a:gd name="T96" fmla="*/ 1895 w 5931"/>
                    <a:gd name="T97" fmla="*/ 2491 h 5927"/>
                    <a:gd name="T98" fmla="*/ 1868 w 5931"/>
                    <a:gd name="T99" fmla="*/ 1741 h 5927"/>
                    <a:gd name="T100" fmla="*/ 2101 w 5931"/>
                    <a:gd name="T101" fmla="*/ 1053 h 5927"/>
                    <a:gd name="T102" fmla="*/ 2549 w 5931"/>
                    <a:gd name="T103" fmla="*/ 501 h 5927"/>
                    <a:gd name="T104" fmla="*/ 3161 w 5931"/>
                    <a:gd name="T105" fmla="*/ 133 h 5927"/>
                    <a:gd name="T106" fmla="*/ 3888 w 5931"/>
                    <a:gd name="T107" fmla="*/ 0 h 5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931" h="5927">
                      <a:moveTo>
                        <a:pt x="1395" y="4091"/>
                      </a:moveTo>
                      <a:lnTo>
                        <a:pt x="285" y="5200"/>
                      </a:lnTo>
                      <a:lnTo>
                        <a:pt x="253" y="5238"/>
                      </a:lnTo>
                      <a:lnTo>
                        <a:pt x="228" y="5279"/>
                      </a:lnTo>
                      <a:lnTo>
                        <a:pt x="208" y="5324"/>
                      </a:lnTo>
                      <a:lnTo>
                        <a:pt x="197" y="5371"/>
                      </a:lnTo>
                      <a:lnTo>
                        <a:pt x="193" y="5422"/>
                      </a:lnTo>
                      <a:lnTo>
                        <a:pt x="197" y="5470"/>
                      </a:lnTo>
                      <a:lnTo>
                        <a:pt x="208" y="5519"/>
                      </a:lnTo>
                      <a:lnTo>
                        <a:pt x="228" y="5564"/>
                      </a:lnTo>
                      <a:lnTo>
                        <a:pt x="253" y="5606"/>
                      </a:lnTo>
                      <a:lnTo>
                        <a:pt x="285" y="5644"/>
                      </a:lnTo>
                      <a:lnTo>
                        <a:pt x="323" y="5676"/>
                      </a:lnTo>
                      <a:lnTo>
                        <a:pt x="365" y="5701"/>
                      </a:lnTo>
                      <a:lnTo>
                        <a:pt x="410" y="5719"/>
                      </a:lnTo>
                      <a:lnTo>
                        <a:pt x="457" y="5732"/>
                      </a:lnTo>
                      <a:lnTo>
                        <a:pt x="507" y="5736"/>
                      </a:lnTo>
                      <a:lnTo>
                        <a:pt x="556" y="5732"/>
                      </a:lnTo>
                      <a:lnTo>
                        <a:pt x="605" y="5719"/>
                      </a:lnTo>
                      <a:lnTo>
                        <a:pt x="650" y="5701"/>
                      </a:lnTo>
                      <a:lnTo>
                        <a:pt x="691" y="5676"/>
                      </a:lnTo>
                      <a:lnTo>
                        <a:pt x="729" y="5644"/>
                      </a:lnTo>
                      <a:lnTo>
                        <a:pt x="1839" y="4533"/>
                      </a:lnTo>
                      <a:lnTo>
                        <a:pt x="1395" y="4091"/>
                      </a:lnTo>
                      <a:close/>
                      <a:moveTo>
                        <a:pt x="1737" y="3880"/>
                      </a:moveTo>
                      <a:lnTo>
                        <a:pt x="1693" y="3881"/>
                      </a:lnTo>
                      <a:lnTo>
                        <a:pt x="1650" y="3890"/>
                      </a:lnTo>
                      <a:lnTo>
                        <a:pt x="1608" y="3907"/>
                      </a:lnTo>
                      <a:lnTo>
                        <a:pt x="1569" y="3928"/>
                      </a:lnTo>
                      <a:lnTo>
                        <a:pt x="1533" y="3955"/>
                      </a:lnTo>
                      <a:lnTo>
                        <a:pt x="1975" y="4397"/>
                      </a:lnTo>
                      <a:lnTo>
                        <a:pt x="2007" y="4352"/>
                      </a:lnTo>
                      <a:lnTo>
                        <a:pt x="2031" y="4302"/>
                      </a:lnTo>
                      <a:lnTo>
                        <a:pt x="2045" y="4249"/>
                      </a:lnTo>
                      <a:lnTo>
                        <a:pt x="2051" y="4193"/>
                      </a:lnTo>
                      <a:lnTo>
                        <a:pt x="2047" y="4143"/>
                      </a:lnTo>
                      <a:lnTo>
                        <a:pt x="2034" y="4096"/>
                      </a:lnTo>
                      <a:lnTo>
                        <a:pt x="2016" y="4051"/>
                      </a:lnTo>
                      <a:lnTo>
                        <a:pt x="1991" y="4010"/>
                      </a:lnTo>
                      <a:lnTo>
                        <a:pt x="1959" y="3972"/>
                      </a:lnTo>
                      <a:lnTo>
                        <a:pt x="1919" y="3937"/>
                      </a:lnTo>
                      <a:lnTo>
                        <a:pt x="1877" y="3912"/>
                      </a:lnTo>
                      <a:lnTo>
                        <a:pt x="1832" y="3894"/>
                      </a:lnTo>
                      <a:lnTo>
                        <a:pt x="1785" y="3883"/>
                      </a:lnTo>
                      <a:lnTo>
                        <a:pt x="1737" y="3880"/>
                      </a:lnTo>
                      <a:close/>
                      <a:moveTo>
                        <a:pt x="2386" y="3423"/>
                      </a:moveTo>
                      <a:lnTo>
                        <a:pt x="2029" y="3780"/>
                      </a:lnTo>
                      <a:lnTo>
                        <a:pt x="2063" y="3806"/>
                      </a:lnTo>
                      <a:lnTo>
                        <a:pt x="2094" y="3835"/>
                      </a:lnTo>
                      <a:lnTo>
                        <a:pt x="2123" y="3867"/>
                      </a:lnTo>
                      <a:lnTo>
                        <a:pt x="2150" y="3899"/>
                      </a:lnTo>
                      <a:lnTo>
                        <a:pt x="2505" y="3544"/>
                      </a:lnTo>
                      <a:lnTo>
                        <a:pt x="2444" y="3485"/>
                      </a:lnTo>
                      <a:lnTo>
                        <a:pt x="2386" y="3423"/>
                      </a:lnTo>
                      <a:close/>
                      <a:moveTo>
                        <a:pt x="3888" y="193"/>
                      </a:moveTo>
                      <a:lnTo>
                        <a:pt x="3744" y="198"/>
                      </a:lnTo>
                      <a:lnTo>
                        <a:pt x="3603" y="215"/>
                      </a:lnTo>
                      <a:lnTo>
                        <a:pt x="3464" y="242"/>
                      </a:lnTo>
                      <a:lnTo>
                        <a:pt x="3330" y="278"/>
                      </a:lnTo>
                      <a:lnTo>
                        <a:pt x="3200" y="325"/>
                      </a:lnTo>
                      <a:lnTo>
                        <a:pt x="3076" y="381"/>
                      </a:lnTo>
                      <a:lnTo>
                        <a:pt x="2955" y="446"/>
                      </a:lnTo>
                      <a:lnTo>
                        <a:pt x="2841" y="518"/>
                      </a:lnTo>
                      <a:lnTo>
                        <a:pt x="2731" y="599"/>
                      </a:lnTo>
                      <a:lnTo>
                        <a:pt x="2630" y="687"/>
                      </a:lnTo>
                      <a:lnTo>
                        <a:pt x="2533" y="783"/>
                      </a:lnTo>
                      <a:lnTo>
                        <a:pt x="2444" y="886"/>
                      </a:lnTo>
                      <a:lnTo>
                        <a:pt x="2365" y="996"/>
                      </a:lnTo>
                      <a:lnTo>
                        <a:pt x="2291" y="1109"/>
                      </a:lnTo>
                      <a:lnTo>
                        <a:pt x="2226" y="1230"/>
                      </a:lnTo>
                      <a:lnTo>
                        <a:pt x="2170" y="1355"/>
                      </a:lnTo>
                      <a:lnTo>
                        <a:pt x="2123" y="1484"/>
                      </a:lnTo>
                      <a:lnTo>
                        <a:pt x="2087" y="1618"/>
                      </a:lnTo>
                      <a:lnTo>
                        <a:pt x="2060" y="1757"/>
                      </a:lnTo>
                      <a:lnTo>
                        <a:pt x="2043" y="1897"/>
                      </a:lnTo>
                      <a:lnTo>
                        <a:pt x="2038" y="2042"/>
                      </a:lnTo>
                      <a:lnTo>
                        <a:pt x="2043" y="2186"/>
                      </a:lnTo>
                      <a:lnTo>
                        <a:pt x="2060" y="2329"/>
                      </a:lnTo>
                      <a:lnTo>
                        <a:pt x="2087" y="2466"/>
                      </a:lnTo>
                      <a:lnTo>
                        <a:pt x="2123" y="2599"/>
                      </a:lnTo>
                      <a:lnTo>
                        <a:pt x="2170" y="2729"/>
                      </a:lnTo>
                      <a:lnTo>
                        <a:pt x="2226" y="2855"/>
                      </a:lnTo>
                      <a:lnTo>
                        <a:pt x="2291" y="2974"/>
                      </a:lnTo>
                      <a:lnTo>
                        <a:pt x="2365" y="3090"/>
                      </a:lnTo>
                      <a:lnTo>
                        <a:pt x="2444" y="3198"/>
                      </a:lnTo>
                      <a:lnTo>
                        <a:pt x="2533" y="3301"/>
                      </a:lnTo>
                      <a:lnTo>
                        <a:pt x="2630" y="3396"/>
                      </a:lnTo>
                      <a:lnTo>
                        <a:pt x="2731" y="3485"/>
                      </a:lnTo>
                      <a:lnTo>
                        <a:pt x="2841" y="3566"/>
                      </a:lnTo>
                      <a:lnTo>
                        <a:pt x="2955" y="3640"/>
                      </a:lnTo>
                      <a:lnTo>
                        <a:pt x="3076" y="3703"/>
                      </a:lnTo>
                      <a:lnTo>
                        <a:pt x="3200" y="3759"/>
                      </a:lnTo>
                      <a:lnTo>
                        <a:pt x="3330" y="3806"/>
                      </a:lnTo>
                      <a:lnTo>
                        <a:pt x="3464" y="3844"/>
                      </a:lnTo>
                      <a:lnTo>
                        <a:pt x="3603" y="3871"/>
                      </a:lnTo>
                      <a:lnTo>
                        <a:pt x="3744" y="3887"/>
                      </a:lnTo>
                      <a:lnTo>
                        <a:pt x="3888" y="3892"/>
                      </a:lnTo>
                      <a:lnTo>
                        <a:pt x="4032" y="3887"/>
                      </a:lnTo>
                      <a:lnTo>
                        <a:pt x="4175" y="3871"/>
                      </a:lnTo>
                      <a:lnTo>
                        <a:pt x="4312" y="3844"/>
                      </a:lnTo>
                      <a:lnTo>
                        <a:pt x="4448" y="3806"/>
                      </a:lnTo>
                      <a:lnTo>
                        <a:pt x="4576" y="3759"/>
                      </a:lnTo>
                      <a:lnTo>
                        <a:pt x="4702" y="3703"/>
                      </a:lnTo>
                      <a:lnTo>
                        <a:pt x="4821" y="3640"/>
                      </a:lnTo>
                      <a:lnTo>
                        <a:pt x="4937" y="3566"/>
                      </a:lnTo>
                      <a:lnTo>
                        <a:pt x="5045" y="3485"/>
                      </a:lnTo>
                      <a:lnTo>
                        <a:pt x="5148" y="3396"/>
                      </a:lnTo>
                      <a:lnTo>
                        <a:pt x="5243" y="3301"/>
                      </a:lnTo>
                      <a:lnTo>
                        <a:pt x="5332" y="3198"/>
                      </a:lnTo>
                      <a:lnTo>
                        <a:pt x="5413" y="3090"/>
                      </a:lnTo>
                      <a:lnTo>
                        <a:pt x="5487" y="2974"/>
                      </a:lnTo>
                      <a:lnTo>
                        <a:pt x="5550" y="2855"/>
                      </a:lnTo>
                      <a:lnTo>
                        <a:pt x="5606" y="2729"/>
                      </a:lnTo>
                      <a:lnTo>
                        <a:pt x="5653" y="2599"/>
                      </a:lnTo>
                      <a:lnTo>
                        <a:pt x="5691" y="2466"/>
                      </a:lnTo>
                      <a:lnTo>
                        <a:pt x="5718" y="2329"/>
                      </a:lnTo>
                      <a:lnTo>
                        <a:pt x="5734" y="2186"/>
                      </a:lnTo>
                      <a:lnTo>
                        <a:pt x="5740" y="2042"/>
                      </a:lnTo>
                      <a:lnTo>
                        <a:pt x="5734" y="1897"/>
                      </a:lnTo>
                      <a:lnTo>
                        <a:pt x="5718" y="1757"/>
                      </a:lnTo>
                      <a:lnTo>
                        <a:pt x="5691" y="1618"/>
                      </a:lnTo>
                      <a:lnTo>
                        <a:pt x="5653" y="1484"/>
                      </a:lnTo>
                      <a:lnTo>
                        <a:pt x="5606" y="1355"/>
                      </a:lnTo>
                      <a:lnTo>
                        <a:pt x="5550" y="1230"/>
                      </a:lnTo>
                      <a:lnTo>
                        <a:pt x="5487" y="1109"/>
                      </a:lnTo>
                      <a:lnTo>
                        <a:pt x="5413" y="996"/>
                      </a:lnTo>
                      <a:lnTo>
                        <a:pt x="5332" y="886"/>
                      </a:lnTo>
                      <a:lnTo>
                        <a:pt x="5243" y="783"/>
                      </a:lnTo>
                      <a:lnTo>
                        <a:pt x="5148" y="687"/>
                      </a:lnTo>
                      <a:lnTo>
                        <a:pt x="5045" y="599"/>
                      </a:lnTo>
                      <a:lnTo>
                        <a:pt x="4937" y="518"/>
                      </a:lnTo>
                      <a:lnTo>
                        <a:pt x="4821" y="446"/>
                      </a:lnTo>
                      <a:lnTo>
                        <a:pt x="4702" y="381"/>
                      </a:lnTo>
                      <a:lnTo>
                        <a:pt x="4576" y="325"/>
                      </a:lnTo>
                      <a:lnTo>
                        <a:pt x="4448" y="278"/>
                      </a:lnTo>
                      <a:lnTo>
                        <a:pt x="4312" y="242"/>
                      </a:lnTo>
                      <a:lnTo>
                        <a:pt x="4175" y="215"/>
                      </a:lnTo>
                      <a:lnTo>
                        <a:pt x="4032" y="198"/>
                      </a:lnTo>
                      <a:lnTo>
                        <a:pt x="3888" y="193"/>
                      </a:lnTo>
                      <a:close/>
                      <a:moveTo>
                        <a:pt x="3888" y="0"/>
                      </a:moveTo>
                      <a:lnTo>
                        <a:pt x="4041" y="5"/>
                      </a:lnTo>
                      <a:lnTo>
                        <a:pt x="4189" y="23"/>
                      </a:lnTo>
                      <a:lnTo>
                        <a:pt x="4336" y="51"/>
                      </a:lnTo>
                      <a:lnTo>
                        <a:pt x="4478" y="87"/>
                      </a:lnTo>
                      <a:lnTo>
                        <a:pt x="4615" y="133"/>
                      </a:lnTo>
                      <a:lnTo>
                        <a:pt x="4749" y="191"/>
                      </a:lnTo>
                      <a:lnTo>
                        <a:pt x="4877" y="256"/>
                      </a:lnTo>
                      <a:lnTo>
                        <a:pt x="5000" y="330"/>
                      </a:lnTo>
                      <a:lnTo>
                        <a:pt x="5117" y="411"/>
                      </a:lnTo>
                      <a:lnTo>
                        <a:pt x="5229" y="501"/>
                      </a:lnTo>
                      <a:lnTo>
                        <a:pt x="5332" y="599"/>
                      </a:lnTo>
                      <a:lnTo>
                        <a:pt x="5429" y="703"/>
                      </a:lnTo>
                      <a:lnTo>
                        <a:pt x="5520" y="813"/>
                      </a:lnTo>
                      <a:lnTo>
                        <a:pt x="5603" y="931"/>
                      </a:lnTo>
                      <a:lnTo>
                        <a:pt x="5677" y="1053"/>
                      </a:lnTo>
                      <a:lnTo>
                        <a:pt x="5742" y="1181"/>
                      </a:lnTo>
                      <a:lnTo>
                        <a:pt x="5798" y="1315"/>
                      </a:lnTo>
                      <a:lnTo>
                        <a:pt x="5845" y="1454"/>
                      </a:lnTo>
                      <a:lnTo>
                        <a:pt x="5882" y="1594"/>
                      </a:lnTo>
                      <a:lnTo>
                        <a:pt x="5910" y="1741"/>
                      </a:lnTo>
                      <a:lnTo>
                        <a:pt x="5926" y="1890"/>
                      </a:lnTo>
                      <a:lnTo>
                        <a:pt x="5931" y="2042"/>
                      </a:lnTo>
                      <a:lnTo>
                        <a:pt x="5926" y="2195"/>
                      </a:lnTo>
                      <a:lnTo>
                        <a:pt x="5910" y="2343"/>
                      </a:lnTo>
                      <a:lnTo>
                        <a:pt x="5882" y="2489"/>
                      </a:lnTo>
                      <a:lnTo>
                        <a:pt x="5845" y="2632"/>
                      </a:lnTo>
                      <a:lnTo>
                        <a:pt x="5798" y="2769"/>
                      </a:lnTo>
                      <a:lnTo>
                        <a:pt x="5742" y="2902"/>
                      </a:lnTo>
                      <a:lnTo>
                        <a:pt x="5677" y="3030"/>
                      </a:lnTo>
                      <a:lnTo>
                        <a:pt x="5603" y="3153"/>
                      </a:lnTo>
                      <a:lnTo>
                        <a:pt x="5520" y="3270"/>
                      </a:lnTo>
                      <a:lnTo>
                        <a:pt x="5429" y="3380"/>
                      </a:lnTo>
                      <a:lnTo>
                        <a:pt x="5332" y="3485"/>
                      </a:lnTo>
                      <a:lnTo>
                        <a:pt x="5229" y="3582"/>
                      </a:lnTo>
                      <a:lnTo>
                        <a:pt x="5117" y="3672"/>
                      </a:lnTo>
                      <a:lnTo>
                        <a:pt x="5000" y="3755"/>
                      </a:lnTo>
                      <a:lnTo>
                        <a:pt x="4877" y="3829"/>
                      </a:lnTo>
                      <a:lnTo>
                        <a:pt x="4749" y="3894"/>
                      </a:lnTo>
                      <a:lnTo>
                        <a:pt x="4615" y="3950"/>
                      </a:lnTo>
                      <a:lnTo>
                        <a:pt x="4478" y="3997"/>
                      </a:lnTo>
                      <a:lnTo>
                        <a:pt x="4336" y="4035"/>
                      </a:lnTo>
                      <a:lnTo>
                        <a:pt x="4189" y="4062"/>
                      </a:lnTo>
                      <a:lnTo>
                        <a:pt x="4041" y="4078"/>
                      </a:lnTo>
                      <a:lnTo>
                        <a:pt x="3888" y="4083"/>
                      </a:lnTo>
                      <a:lnTo>
                        <a:pt x="3735" y="4078"/>
                      </a:lnTo>
                      <a:lnTo>
                        <a:pt x="3585" y="4062"/>
                      </a:lnTo>
                      <a:lnTo>
                        <a:pt x="3439" y="4035"/>
                      </a:lnTo>
                      <a:lnTo>
                        <a:pt x="3296" y="3997"/>
                      </a:lnTo>
                      <a:lnTo>
                        <a:pt x="3157" y="3948"/>
                      </a:lnTo>
                      <a:lnTo>
                        <a:pt x="3023" y="3892"/>
                      </a:lnTo>
                      <a:lnTo>
                        <a:pt x="2895" y="3826"/>
                      </a:lnTo>
                      <a:lnTo>
                        <a:pt x="2771" y="3752"/>
                      </a:lnTo>
                      <a:lnTo>
                        <a:pt x="2653" y="3669"/>
                      </a:lnTo>
                      <a:lnTo>
                        <a:pt x="2240" y="4082"/>
                      </a:lnTo>
                      <a:lnTo>
                        <a:pt x="2231" y="4089"/>
                      </a:lnTo>
                      <a:lnTo>
                        <a:pt x="2240" y="4139"/>
                      </a:lnTo>
                      <a:lnTo>
                        <a:pt x="2242" y="4193"/>
                      </a:lnTo>
                      <a:lnTo>
                        <a:pt x="2238" y="4260"/>
                      </a:lnTo>
                      <a:lnTo>
                        <a:pt x="2226" y="4323"/>
                      </a:lnTo>
                      <a:lnTo>
                        <a:pt x="2204" y="4386"/>
                      </a:lnTo>
                      <a:lnTo>
                        <a:pt x="2175" y="4444"/>
                      </a:lnTo>
                      <a:lnTo>
                        <a:pt x="2139" y="4500"/>
                      </a:lnTo>
                      <a:lnTo>
                        <a:pt x="2094" y="4551"/>
                      </a:lnTo>
                      <a:lnTo>
                        <a:pt x="865" y="5779"/>
                      </a:lnTo>
                      <a:lnTo>
                        <a:pt x="814" y="5822"/>
                      </a:lnTo>
                      <a:lnTo>
                        <a:pt x="760" y="5860"/>
                      </a:lnTo>
                      <a:lnTo>
                        <a:pt x="701" y="5889"/>
                      </a:lnTo>
                      <a:lnTo>
                        <a:pt x="639" y="5911"/>
                      </a:lnTo>
                      <a:lnTo>
                        <a:pt x="574" y="5923"/>
                      </a:lnTo>
                      <a:lnTo>
                        <a:pt x="507" y="5927"/>
                      </a:lnTo>
                      <a:lnTo>
                        <a:pt x="441" y="5923"/>
                      </a:lnTo>
                      <a:lnTo>
                        <a:pt x="376" y="5911"/>
                      </a:lnTo>
                      <a:lnTo>
                        <a:pt x="312" y="5889"/>
                      </a:lnTo>
                      <a:lnTo>
                        <a:pt x="255" y="5860"/>
                      </a:lnTo>
                      <a:lnTo>
                        <a:pt x="199" y="5822"/>
                      </a:lnTo>
                      <a:lnTo>
                        <a:pt x="150" y="5779"/>
                      </a:lnTo>
                      <a:lnTo>
                        <a:pt x="105" y="5728"/>
                      </a:lnTo>
                      <a:lnTo>
                        <a:pt x="69" y="5674"/>
                      </a:lnTo>
                      <a:lnTo>
                        <a:pt x="40" y="5615"/>
                      </a:lnTo>
                      <a:lnTo>
                        <a:pt x="18" y="5553"/>
                      </a:lnTo>
                      <a:lnTo>
                        <a:pt x="6" y="5488"/>
                      </a:lnTo>
                      <a:lnTo>
                        <a:pt x="0" y="5422"/>
                      </a:lnTo>
                      <a:lnTo>
                        <a:pt x="6" y="5355"/>
                      </a:lnTo>
                      <a:lnTo>
                        <a:pt x="18" y="5290"/>
                      </a:lnTo>
                      <a:lnTo>
                        <a:pt x="40" y="5227"/>
                      </a:lnTo>
                      <a:lnTo>
                        <a:pt x="69" y="5169"/>
                      </a:lnTo>
                      <a:lnTo>
                        <a:pt x="105" y="5113"/>
                      </a:lnTo>
                      <a:lnTo>
                        <a:pt x="150" y="5065"/>
                      </a:lnTo>
                      <a:lnTo>
                        <a:pt x="1379" y="3835"/>
                      </a:lnTo>
                      <a:lnTo>
                        <a:pt x="1430" y="3791"/>
                      </a:lnTo>
                      <a:lnTo>
                        <a:pt x="1484" y="3753"/>
                      </a:lnTo>
                      <a:lnTo>
                        <a:pt x="1543" y="3725"/>
                      </a:lnTo>
                      <a:lnTo>
                        <a:pt x="1605" y="3705"/>
                      </a:lnTo>
                      <a:lnTo>
                        <a:pt x="1670" y="3692"/>
                      </a:lnTo>
                      <a:lnTo>
                        <a:pt x="1737" y="3687"/>
                      </a:lnTo>
                      <a:lnTo>
                        <a:pt x="1789" y="3690"/>
                      </a:lnTo>
                      <a:lnTo>
                        <a:pt x="1841" y="3697"/>
                      </a:lnTo>
                      <a:lnTo>
                        <a:pt x="1848" y="3690"/>
                      </a:lnTo>
                      <a:lnTo>
                        <a:pt x="2262" y="3275"/>
                      </a:lnTo>
                      <a:lnTo>
                        <a:pt x="2179" y="3158"/>
                      </a:lnTo>
                      <a:lnTo>
                        <a:pt x="2105" y="3036"/>
                      </a:lnTo>
                      <a:lnTo>
                        <a:pt x="2038" y="2906"/>
                      </a:lnTo>
                      <a:lnTo>
                        <a:pt x="1980" y="2772"/>
                      </a:lnTo>
                      <a:lnTo>
                        <a:pt x="1933" y="2635"/>
                      </a:lnTo>
                      <a:lnTo>
                        <a:pt x="1895" y="2491"/>
                      </a:lnTo>
                      <a:lnTo>
                        <a:pt x="1868" y="2345"/>
                      </a:lnTo>
                      <a:lnTo>
                        <a:pt x="1852" y="2195"/>
                      </a:lnTo>
                      <a:lnTo>
                        <a:pt x="1845" y="2042"/>
                      </a:lnTo>
                      <a:lnTo>
                        <a:pt x="1850" y="1890"/>
                      </a:lnTo>
                      <a:lnTo>
                        <a:pt x="1868" y="1741"/>
                      </a:lnTo>
                      <a:lnTo>
                        <a:pt x="1895" y="1594"/>
                      </a:lnTo>
                      <a:lnTo>
                        <a:pt x="1931" y="1454"/>
                      </a:lnTo>
                      <a:lnTo>
                        <a:pt x="1978" y="1315"/>
                      </a:lnTo>
                      <a:lnTo>
                        <a:pt x="2036" y="1181"/>
                      </a:lnTo>
                      <a:lnTo>
                        <a:pt x="2101" y="1053"/>
                      </a:lnTo>
                      <a:lnTo>
                        <a:pt x="2175" y="931"/>
                      </a:lnTo>
                      <a:lnTo>
                        <a:pt x="2258" y="813"/>
                      </a:lnTo>
                      <a:lnTo>
                        <a:pt x="2347" y="703"/>
                      </a:lnTo>
                      <a:lnTo>
                        <a:pt x="2444" y="599"/>
                      </a:lnTo>
                      <a:lnTo>
                        <a:pt x="2549" y="501"/>
                      </a:lnTo>
                      <a:lnTo>
                        <a:pt x="2661" y="411"/>
                      </a:lnTo>
                      <a:lnTo>
                        <a:pt x="2776" y="330"/>
                      </a:lnTo>
                      <a:lnTo>
                        <a:pt x="2899" y="256"/>
                      </a:lnTo>
                      <a:lnTo>
                        <a:pt x="3029" y="191"/>
                      </a:lnTo>
                      <a:lnTo>
                        <a:pt x="3161" y="133"/>
                      </a:lnTo>
                      <a:lnTo>
                        <a:pt x="3300" y="87"/>
                      </a:lnTo>
                      <a:lnTo>
                        <a:pt x="3440" y="51"/>
                      </a:lnTo>
                      <a:lnTo>
                        <a:pt x="3587" y="23"/>
                      </a:lnTo>
                      <a:lnTo>
                        <a:pt x="3736" y="5"/>
                      </a:lnTo>
                      <a:lnTo>
                        <a:pt x="388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5" name="Freeform 37">
                  <a:extLst>
                    <a:ext uri="{FF2B5EF4-FFF2-40B4-BE49-F238E27FC236}">
                      <a16:creationId xmlns:a16="http://schemas.microsoft.com/office/drawing/2014/main" id="{92E43639-35D4-EC11-0EA0-5F19A717EB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85588" y="2576513"/>
                  <a:ext cx="2593975" cy="2592388"/>
                </a:xfrm>
                <a:custGeom>
                  <a:avLst/>
                  <a:gdLst>
                    <a:gd name="T0" fmla="*/ 1388 w 3266"/>
                    <a:gd name="T1" fmla="*/ 213 h 3265"/>
                    <a:gd name="T2" fmla="*/ 1046 w 3266"/>
                    <a:gd name="T3" fmla="*/ 318 h 3265"/>
                    <a:gd name="T4" fmla="*/ 745 w 3266"/>
                    <a:gd name="T5" fmla="*/ 500 h 3265"/>
                    <a:gd name="T6" fmla="*/ 500 w 3266"/>
                    <a:gd name="T7" fmla="*/ 745 h 3265"/>
                    <a:gd name="T8" fmla="*/ 317 w 3266"/>
                    <a:gd name="T9" fmla="*/ 1047 h 3265"/>
                    <a:gd name="T10" fmla="*/ 214 w 3266"/>
                    <a:gd name="T11" fmla="*/ 1387 h 3265"/>
                    <a:gd name="T12" fmla="*/ 198 w 3266"/>
                    <a:gd name="T13" fmla="*/ 1757 h 3265"/>
                    <a:gd name="T14" fmla="*/ 274 w 3266"/>
                    <a:gd name="T15" fmla="*/ 2111 h 3265"/>
                    <a:gd name="T16" fmla="*/ 431 w 3266"/>
                    <a:gd name="T17" fmla="*/ 2426 h 3265"/>
                    <a:gd name="T18" fmla="*/ 657 w 3266"/>
                    <a:gd name="T19" fmla="*/ 2691 h 3265"/>
                    <a:gd name="T20" fmla="*/ 942 w 3266"/>
                    <a:gd name="T21" fmla="*/ 2895 h 3265"/>
                    <a:gd name="T22" fmla="*/ 1270 w 3266"/>
                    <a:gd name="T23" fmla="*/ 3027 h 3265"/>
                    <a:gd name="T24" fmla="*/ 1633 w 3266"/>
                    <a:gd name="T25" fmla="*/ 3074 h 3265"/>
                    <a:gd name="T26" fmla="*/ 1998 w 3266"/>
                    <a:gd name="T27" fmla="*/ 3027 h 3265"/>
                    <a:gd name="T28" fmla="*/ 2326 w 3266"/>
                    <a:gd name="T29" fmla="*/ 2895 h 3265"/>
                    <a:gd name="T30" fmla="*/ 2609 w 3266"/>
                    <a:gd name="T31" fmla="*/ 2691 h 3265"/>
                    <a:gd name="T32" fmla="*/ 2837 w 3266"/>
                    <a:gd name="T33" fmla="*/ 2426 h 3265"/>
                    <a:gd name="T34" fmla="*/ 2994 w 3266"/>
                    <a:gd name="T35" fmla="*/ 2111 h 3265"/>
                    <a:gd name="T36" fmla="*/ 3070 w 3266"/>
                    <a:gd name="T37" fmla="*/ 1757 h 3265"/>
                    <a:gd name="T38" fmla="*/ 3053 w 3266"/>
                    <a:gd name="T39" fmla="*/ 1387 h 3265"/>
                    <a:gd name="T40" fmla="*/ 2949 w 3266"/>
                    <a:gd name="T41" fmla="*/ 1047 h 3265"/>
                    <a:gd name="T42" fmla="*/ 2768 w 3266"/>
                    <a:gd name="T43" fmla="*/ 745 h 3265"/>
                    <a:gd name="T44" fmla="*/ 2521 w 3266"/>
                    <a:gd name="T45" fmla="*/ 500 h 3265"/>
                    <a:gd name="T46" fmla="*/ 2221 w 3266"/>
                    <a:gd name="T47" fmla="*/ 318 h 3265"/>
                    <a:gd name="T48" fmla="*/ 1878 w 3266"/>
                    <a:gd name="T49" fmla="*/ 213 h 3265"/>
                    <a:gd name="T50" fmla="*/ 1633 w 3266"/>
                    <a:gd name="T51" fmla="*/ 0 h 3265"/>
                    <a:gd name="T52" fmla="*/ 2025 w 3266"/>
                    <a:gd name="T53" fmla="*/ 49 h 3265"/>
                    <a:gd name="T54" fmla="*/ 2384 w 3266"/>
                    <a:gd name="T55" fmla="*/ 184 h 3265"/>
                    <a:gd name="T56" fmla="*/ 2696 w 3266"/>
                    <a:gd name="T57" fmla="*/ 394 h 3265"/>
                    <a:gd name="T58" fmla="*/ 2951 w 3266"/>
                    <a:gd name="T59" fmla="*/ 670 h 3265"/>
                    <a:gd name="T60" fmla="*/ 3138 w 3266"/>
                    <a:gd name="T61" fmla="*/ 998 h 3265"/>
                    <a:gd name="T62" fmla="*/ 3245 w 3266"/>
                    <a:gd name="T63" fmla="*/ 1369 h 3265"/>
                    <a:gd name="T64" fmla="*/ 3261 w 3266"/>
                    <a:gd name="T65" fmla="*/ 1766 h 3265"/>
                    <a:gd name="T66" fmla="*/ 3183 w 3266"/>
                    <a:gd name="T67" fmla="*/ 2149 h 3265"/>
                    <a:gd name="T68" fmla="*/ 3021 w 3266"/>
                    <a:gd name="T69" fmla="*/ 2493 h 3265"/>
                    <a:gd name="T70" fmla="*/ 2788 w 3266"/>
                    <a:gd name="T71" fmla="*/ 2787 h 3265"/>
                    <a:gd name="T72" fmla="*/ 2494 w 3266"/>
                    <a:gd name="T73" fmla="*/ 3020 h 3265"/>
                    <a:gd name="T74" fmla="*/ 2149 w 3266"/>
                    <a:gd name="T75" fmla="*/ 3182 h 3265"/>
                    <a:gd name="T76" fmla="*/ 1767 w 3266"/>
                    <a:gd name="T77" fmla="*/ 3260 h 3265"/>
                    <a:gd name="T78" fmla="*/ 1369 w 3266"/>
                    <a:gd name="T79" fmla="*/ 3243 h 3265"/>
                    <a:gd name="T80" fmla="*/ 998 w 3266"/>
                    <a:gd name="T81" fmla="*/ 3137 h 3265"/>
                    <a:gd name="T82" fmla="*/ 669 w 3266"/>
                    <a:gd name="T83" fmla="*/ 2949 h 3265"/>
                    <a:gd name="T84" fmla="*/ 395 w 3266"/>
                    <a:gd name="T85" fmla="*/ 2695 h 3265"/>
                    <a:gd name="T86" fmla="*/ 184 w 3266"/>
                    <a:gd name="T87" fmla="*/ 2383 h 3265"/>
                    <a:gd name="T88" fmla="*/ 48 w 3266"/>
                    <a:gd name="T89" fmla="*/ 2024 h 3265"/>
                    <a:gd name="T90" fmla="*/ 0 w 3266"/>
                    <a:gd name="T91" fmla="*/ 1633 h 3265"/>
                    <a:gd name="T92" fmla="*/ 48 w 3266"/>
                    <a:gd name="T93" fmla="*/ 1241 h 3265"/>
                    <a:gd name="T94" fmla="*/ 184 w 3266"/>
                    <a:gd name="T95" fmla="*/ 884 h 3265"/>
                    <a:gd name="T96" fmla="*/ 395 w 3266"/>
                    <a:gd name="T97" fmla="*/ 572 h 3265"/>
                    <a:gd name="T98" fmla="*/ 669 w 3266"/>
                    <a:gd name="T99" fmla="*/ 316 h 3265"/>
                    <a:gd name="T100" fmla="*/ 998 w 3266"/>
                    <a:gd name="T101" fmla="*/ 130 h 3265"/>
                    <a:gd name="T102" fmla="*/ 1369 w 3266"/>
                    <a:gd name="T103" fmla="*/ 22 h 3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266" h="3265">
                      <a:moveTo>
                        <a:pt x="1633" y="193"/>
                      </a:moveTo>
                      <a:lnTo>
                        <a:pt x="1510" y="199"/>
                      </a:lnTo>
                      <a:lnTo>
                        <a:pt x="1388" y="213"/>
                      </a:lnTo>
                      <a:lnTo>
                        <a:pt x="1270" y="240"/>
                      </a:lnTo>
                      <a:lnTo>
                        <a:pt x="1156" y="275"/>
                      </a:lnTo>
                      <a:lnTo>
                        <a:pt x="1046" y="318"/>
                      </a:lnTo>
                      <a:lnTo>
                        <a:pt x="942" y="370"/>
                      </a:lnTo>
                      <a:lnTo>
                        <a:pt x="841" y="432"/>
                      </a:lnTo>
                      <a:lnTo>
                        <a:pt x="745" y="500"/>
                      </a:lnTo>
                      <a:lnTo>
                        <a:pt x="657" y="576"/>
                      </a:lnTo>
                      <a:lnTo>
                        <a:pt x="575" y="657"/>
                      </a:lnTo>
                      <a:lnTo>
                        <a:pt x="500" y="745"/>
                      </a:lnTo>
                      <a:lnTo>
                        <a:pt x="431" y="841"/>
                      </a:lnTo>
                      <a:lnTo>
                        <a:pt x="370" y="940"/>
                      </a:lnTo>
                      <a:lnTo>
                        <a:pt x="317" y="1047"/>
                      </a:lnTo>
                      <a:lnTo>
                        <a:pt x="274" y="1157"/>
                      </a:lnTo>
                      <a:lnTo>
                        <a:pt x="240" y="1270"/>
                      </a:lnTo>
                      <a:lnTo>
                        <a:pt x="214" y="1387"/>
                      </a:lnTo>
                      <a:lnTo>
                        <a:pt x="198" y="1508"/>
                      </a:lnTo>
                      <a:lnTo>
                        <a:pt x="193" y="1633"/>
                      </a:lnTo>
                      <a:lnTo>
                        <a:pt x="198" y="1757"/>
                      </a:lnTo>
                      <a:lnTo>
                        <a:pt x="214" y="1878"/>
                      </a:lnTo>
                      <a:lnTo>
                        <a:pt x="240" y="1997"/>
                      </a:lnTo>
                      <a:lnTo>
                        <a:pt x="274" y="2111"/>
                      </a:lnTo>
                      <a:lnTo>
                        <a:pt x="317" y="2221"/>
                      </a:lnTo>
                      <a:lnTo>
                        <a:pt x="370" y="2325"/>
                      </a:lnTo>
                      <a:lnTo>
                        <a:pt x="431" y="2426"/>
                      </a:lnTo>
                      <a:lnTo>
                        <a:pt x="500" y="2520"/>
                      </a:lnTo>
                      <a:lnTo>
                        <a:pt x="575" y="2609"/>
                      </a:lnTo>
                      <a:lnTo>
                        <a:pt x="657" y="2691"/>
                      </a:lnTo>
                      <a:lnTo>
                        <a:pt x="745" y="2767"/>
                      </a:lnTo>
                      <a:lnTo>
                        <a:pt x="841" y="2836"/>
                      </a:lnTo>
                      <a:lnTo>
                        <a:pt x="942" y="2895"/>
                      </a:lnTo>
                      <a:lnTo>
                        <a:pt x="1046" y="2948"/>
                      </a:lnTo>
                      <a:lnTo>
                        <a:pt x="1156" y="2993"/>
                      </a:lnTo>
                      <a:lnTo>
                        <a:pt x="1270" y="3027"/>
                      </a:lnTo>
                      <a:lnTo>
                        <a:pt x="1388" y="3052"/>
                      </a:lnTo>
                      <a:lnTo>
                        <a:pt x="1510" y="3068"/>
                      </a:lnTo>
                      <a:lnTo>
                        <a:pt x="1633" y="3074"/>
                      </a:lnTo>
                      <a:lnTo>
                        <a:pt x="1758" y="3068"/>
                      </a:lnTo>
                      <a:lnTo>
                        <a:pt x="1878" y="3052"/>
                      </a:lnTo>
                      <a:lnTo>
                        <a:pt x="1998" y="3027"/>
                      </a:lnTo>
                      <a:lnTo>
                        <a:pt x="2111" y="2993"/>
                      </a:lnTo>
                      <a:lnTo>
                        <a:pt x="2221" y="2948"/>
                      </a:lnTo>
                      <a:lnTo>
                        <a:pt x="2326" y="2895"/>
                      </a:lnTo>
                      <a:lnTo>
                        <a:pt x="2427" y="2836"/>
                      </a:lnTo>
                      <a:lnTo>
                        <a:pt x="2521" y="2767"/>
                      </a:lnTo>
                      <a:lnTo>
                        <a:pt x="2609" y="2691"/>
                      </a:lnTo>
                      <a:lnTo>
                        <a:pt x="2692" y="2609"/>
                      </a:lnTo>
                      <a:lnTo>
                        <a:pt x="2768" y="2520"/>
                      </a:lnTo>
                      <a:lnTo>
                        <a:pt x="2837" y="2426"/>
                      </a:lnTo>
                      <a:lnTo>
                        <a:pt x="2896" y="2325"/>
                      </a:lnTo>
                      <a:lnTo>
                        <a:pt x="2949" y="2221"/>
                      </a:lnTo>
                      <a:lnTo>
                        <a:pt x="2994" y="2111"/>
                      </a:lnTo>
                      <a:lnTo>
                        <a:pt x="3028" y="1997"/>
                      </a:lnTo>
                      <a:lnTo>
                        <a:pt x="3053" y="1878"/>
                      </a:lnTo>
                      <a:lnTo>
                        <a:pt x="3070" y="1757"/>
                      </a:lnTo>
                      <a:lnTo>
                        <a:pt x="3075" y="1633"/>
                      </a:lnTo>
                      <a:lnTo>
                        <a:pt x="3070" y="1508"/>
                      </a:lnTo>
                      <a:lnTo>
                        <a:pt x="3053" y="1387"/>
                      </a:lnTo>
                      <a:lnTo>
                        <a:pt x="3028" y="1270"/>
                      </a:lnTo>
                      <a:lnTo>
                        <a:pt x="2994" y="1157"/>
                      </a:lnTo>
                      <a:lnTo>
                        <a:pt x="2949" y="1047"/>
                      </a:lnTo>
                      <a:lnTo>
                        <a:pt x="2896" y="940"/>
                      </a:lnTo>
                      <a:lnTo>
                        <a:pt x="2837" y="841"/>
                      </a:lnTo>
                      <a:lnTo>
                        <a:pt x="2768" y="745"/>
                      </a:lnTo>
                      <a:lnTo>
                        <a:pt x="2692" y="657"/>
                      </a:lnTo>
                      <a:lnTo>
                        <a:pt x="2609" y="576"/>
                      </a:lnTo>
                      <a:lnTo>
                        <a:pt x="2521" y="500"/>
                      </a:lnTo>
                      <a:lnTo>
                        <a:pt x="2427" y="432"/>
                      </a:lnTo>
                      <a:lnTo>
                        <a:pt x="2326" y="370"/>
                      </a:lnTo>
                      <a:lnTo>
                        <a:pt x="2221" y="318"/>
                      </a:lnTo>
                      <a:lnTo>
                        <a:pt x="2111" y="275"/>
                      </a:lnTo>
                      <a:lnTo>
                        <a:pt x="1998" y="240"/>
                      </a:lnTo>
                      <a:lnTo>
                        <a:pt x="1878" y="213"/>
                      </a:lnTo>
                      <a:lnTo>
                        <a:pt x="1758" y="199"/>
                      </a:lnTo>
                      <a:lnTo>
                        <a:pt x="1633" y="193"/>
                      </a:lnTo>
                      <a:close/>
                      <a:moveTo>
                        <a:pt x="1633" y="0"/>
                      </a:moveTo>
                      <a:lnTo>
                        <a:pt x="1767" y="6"/>
                      </a:lnTo>
                      <a:lnTo>
                        <a:pt x="1898" y="22"/>
                      </a:lnTo>
                      <a:lnTo>
                        <a:pt x="2025" y="49"/>
                      </a:lnTo>
                      <a:lnTo>
                        <a:pt x="2149" y="85"/>
                      </a:lnTo>
                      <a:lnTo>
                        <a:pt x="2268" y="130"/>
                      </a:lnTo>
                      <a:lnTo>
                        <a:pt x="2384" y="184"/>
                      </a:lnTo>
                      <a:lnTo>
                        <a:pt x="2494" y="246"/>
                      </a:lnTo>
                      <a:lnTo>
                        <a:pt x="2597" y="316"/>
                      </a:lnTo>
                      <a:lnTo>
                        <a:pt x="2696" y="394"/>
                      </a:lnTo>
                      <a:lnTo>
                        <a:pt x="2788" y="480"/>
                      </a:lnTo>
                      <a:lnTo>
                        <a:pt x="2873" y="572"/>
                      </a:lnTo>
                      <a:lnTo>
                        <a:pt x="2951" y="670"/>
                      </a:lnTo>
                      <a:lnTo>
                        <a:pt x="3021" y="774"/>
                      </a:lnTo>
                      <a:lnTo>
                        <a:pt x="3084" y="884"/>
                      </a:lnTo>
                      <a:lnTo>
                        <a:pt x="3138" y="998"/>
                      </a:lnTo>
                      <a:lnTo>
                        <a:pt x="3183" y="1119"/>
                      </a:lnTo>
                      <a:lnTo>
                        <a:pt x="3220" y="1241"/>
                      </a:lnTo>
                      <a:lnTo>
                        <a:pt x="3245" y="1369"/>
                      </a:lnTo>
                      <a:lnTo>
                        <a:pt x="3261" y="1499"/>
                      </a:lnTo>
                      <a:lnTo>
                        <a:pt x="3266" y="1633"/>
                      </a:lnTo>
                      <a:lnTo>
                        <a:pt x="3261" y="1766"/>
                      </a:lnTo>
                      <a:lnTo>
                        <a:pt x="3245" y="1898"/>
                      </a:lnTo>
                      <a:lnTo>
                        <a:pt x="3220" y="2024"/>
                      </a:lnTo>
                      <a:lnTo>
                        <a:pt x="3183" y="2149"/>
                      </a:lnTo>
                      <a:lnTo>
                        <a:pt x="3138" y="2268"/>
                      </a:lnTo>
                      <a:lnTo>
                        <a:pt x="3084" y="2383"/>
                      </a:lnTo>
                      <a:lnTo>
                        <a:pt x="3021" y="2493"/>
                      </a:lnTo>
                      <a:lnTo>
                        <a:pt x="2951" y="2596"/>
                      </a:lnTo>
                      <a:lnTo>
                        <a:pt x="2873" y="2695"/>
                      </a:lnTo>
                      <a:lnTo>
                        <a:pt x="2788" y="2787"/>
                      </a:lnTo>
                      <a:lnTo>
                        <a:pt x="2696" y="2872"/>
                      </a:lnTo>
                      <a:lnTo>
                        <a:pt x="2597" y="2949"/>
                      </a:lnTo>
                      <a:lnTo>
                        <a:pt x="2494" y="3020"/>
                      </a:lnTo>
                      <a:lnTo>
                        <a:pt x="2384" y="3083"/>
                      </a:lnTo>
                      <a:lnTo>
                        <a:pt x="2268" y="3137"/>
                      </a:lnTo>
                      <a:lnTo>
                        <a:pt x="2149" y="3182"/>
                      </a:lnTo>
                      <a:lnTo>
                        <a:pt x="2025" y="3218"/>
                      </a:lnTo>
                      <a:lnTo>
                        <a:pt x="1898" y="3243"/>
                      </a:lnTo>
                      <a:lnTo>
                        <a:pt x="1767" y="3260"/>
                      </a:lnTo>
                      <a:lnTo>
                        <a:pt x="1633" y="3265"/>
                      </a:lnTo>
                      <a:lnTo>
                        <a:pt x="1499" y="3260"/>
                      </a:lnTo>
                      <a:lnTo>
                        <a:pt x="1369" y="3243"/>
                      </a:lnTo>
                      <a:lnTo>
                        <a:pt x="1241" y="3218"/>
                      </a:lnTo>
                      <a:lnTo>
                        <a:pt x="1119" y="3182"/>
                      </a:lnTo>
                      <a:lnTo>
                        <a:pt x="998" y="3137"/>
                      </a:lnTo>
                      <a:lnTo>
                        <a:pt x="884" y="3083"/>
                      </a:lnTo>
                      <a:lnTo>
                        <a:pt x="774" y="3020"/>
                      </a:lnTo>
                      <a:lnTo>
                        <a:pt x="669" y="2949"/>
                      </a:lnTo>
                      <a:lnTo>
                        <a:pt x="572" y="2872"/>
                      </a:lnTo>
                      <a:lnTo>
                        <a:pt x="480" y="2787"/>
                      </a:lnTo>
                      <a:lnTo>
                        <a:pt x="395" y="2695"/>
                      </a:lnTo>
                      <a:lnTo>
                        <a:pt x="315" y="2596"/>
                      </a:lnTo>
                      <a:lnTo>
                        <a:pt x="245" y="2493"/>
                      </a:lnTo>
                      <a:lnTo>
                        <a:pt x="184" y="2383"/>
                      </a:lnTo>
                      <a:lnTo>
                        <a:pt x="129" y="2268"/>
                      </a:lnTo>
                      <a:lnTo>
                        <a:pt x="84" y="2149"/>
                      </a:lnTo>
                      <a:lnTo>
                        <a:pt x="48" y="2024"/>
                      </a:lnTo>
                      <a:lnTo>
                        <a:pt x="21" y="1898"/>
                      </a:lnTo>
                      <a:lnTo>
                        <a:pt x="5" y="1766"/>
                      </a:lnTo>
                      <a:lnTo>
                        <a:pt x="0" y="1633"/>
                      </a:lnTo>
                      <a:lnTo>
                        <a:pt x="5" y="1499"/>
                      </a:lnTo>
                      <a:lnTo>
                        <a:pt x="21" y="1369"/>
                      </a:lnTo>
                      <a:lnTo>
                        <a:pt x="48" y="1241"/>
                      </a:lnTo>
                      <a:lnTo>
                        <a:pt x="84" y="1119"/>
                      </a:lnTo>
                      <a:lnTo>
                        <a:pt x="129" y="998"/>
                      </a:lnTo>
                      <a:lnTo>
                        <a:pt x="184" y="884"/>
                      </a:lnTo>
                      <a:lnTo>
                        <a:pt x="245" y="774"/>
                      </a:lnTo>
                      <a:lnTo>
                        <a:pt x="315" y="670"/>
                      </a:lnTo>
                      <a:lnTo>
                        <a:pt x="395" y="572"/>
                      </a:lnTo>
                      <a:lnTo>
                        <a:pt x="480" y="480"/>
                      </a:lnTo>
                      <a:lnTo>
                        <a:pt x="572" y="394"/>
                      </a:lnTo>
                      <a:lnTo>
                        <a:pt x="669" y="316"/>
                      </a:lnTo>
                      <a:lnTo>
                        <a:pt x="774" y="246"/>
                      </a:lnTo>
                      <a:lnTo>
                        <a:pt x="884" y="184"/>
                      </a:lnTo>
                      <a:lnTo>
                        <a:pt x="998" y="130"/>
                      </a:lnTo>
                      <a:lnTo>
                        <a:pt x="1119" y="85"/>
                      </a:lnTo>
                      <a:lnTo>
                        <a:pt x="1241" y="49"/>
                      </a:lnTo>
                      <a:lnTo>
                        <a:pt x="1369" y="22"/>
                      </a:lnTo>
                      <a:lnTo>
                        <a:pt x="1499" y="6"/>
                      </a:lnTo>
                      <a:lnTo>
                        <a:pt x="163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6" name="Freeform 38">
                  <a:extLst>
                    <a:ext uri="{FF2B5EF4-FFF2-40B4-BE49-F238E27FC236}">
                      <a16:creationId xmlns:a16="http://schemas.microsoft.com/office/drawing/2014/main" id="{F3FC78E6-C37F-542D-F48B-DEFD8DB7F8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95326" y="3046413"/>
                  <a:ext cx="558800" cy="1471613"/>
                </a:xfrm>
                <a:custGeom>
                  <a:avLst/>
                  <a:gdLst>
                    <a:gd name="T0" fmla="*/ 99 w 704"/>
                    <a:gd name="T1" fmla="*/ 0 h 1854"/>
                    <a:gd name="T2" fmla="*/ 124 w 704"/>
                    <a:gd name="T3" fmla="*/ 5 h 1854"/>
                    <a:gd name="T4" fmla="*/ 148 w 704"/>
                    <a:gd name="T5" fmla="*/ 16 h 1854"/>
                    <a:gd name="T6" fmla="*/ 233 w 704"/>
                    <a:gd name="T7" fmla="*/ 76 h 1854"/>
                    <a:gd name="T8" fmla="*/ 310 w 704"/>
                    <a:gd name="T9" fmla="*/ 143 h 1854"/>
                    <a:gd name="T10" fmla="*/ 381 w 704"/>
                    <a:gd name="T11" fmla="*/ 215 h 1854"/>
                    <a:gd name="T12" fmla="*/ 447 w 704"/>
                    <a:gd name="T13" fmla="*/ 290 h 1854"/>
                    <a:gd name="T14" fmla="*/ 505 w 704"/>
                    <a:gd name="T15" fmla="*/ 372 h 1854"/>
                    <a:gd name="T16" fmla="*/ 556 w 704"/>
                    <a:gd name="T17" fmla="*/ 458 h 1854"/>
                    <a:gd name="T18" fmla="*/ 601 w 704"/>
                    <a:gd name="T19" fmla="*/ 548 h 1854"/>
                    <a:gd name="T20" fmla="*/ 637 w 704"/>
                    <a:gd name="T21" fmla="*/ 642 h 1854"/>
                    <a:gd name="T22" fmla="*/ 666 w 704"/>
                    <a:gd name="T23" fmla="*/ 738 h 1854"/>
                    <a:gd name="T24" fmla="*/ 687 w 704"/>
                    <a:gd name="T25" fmla="*/ 837 h 1854"/>
                    <a:gd name="T26" fmla="*/ 700 w 704"/>
                    <a:gd name="T27" fmla="*/ 938 h 1854"/>
                    <a:gd name="T28" fmla="*/ 704 w 704"/>
                    <a:gd name="T29" fmla="*/ 1041 h 1854"/>
                    <a:gd name="T30" fmla="*/ 698 w 704"/>
                    <a:gd name="T31" fmla="*/ 1147 h 1854"/>
                    <a:gd name="T32" fmla="*/ 686 w 704"/>
                    <a:gd name="T33" fmla="*/ 1252 h 1854"/>
                    <a:gd name="T34" fmla="*/ 662 w 704"/>
                    <a:gd name="T35" fmla="*/ 1355 h 1854"/>
                    <a:gd name="T36" fmla="*/ 632 w 704"/>
                    <a:gd name="T37" fmla="*/ 1454 h 1854"/>
                    <a:gd name="T38" fmla="*/ 592 w 704"/>
                    <a:gd name="T39" fmla="*/ 1551 h 1854"/>
                    <a:gd name="T40" fmla="*/ 543 w 704"/>
                    <a:gd name="T41" fmla="*/ 1645 h 1854"/>
                    <a:gd name="T42" fmla="*/ 487 w 704"/>
                    <a:gd name="T43" fmla="*/ 1735 h 1854"/>
                    <a:gd name="T44" fmla="*/ 424 w 704"/>
                    <a:gd name="T45" fmla="*/ 1820 h 1854"/>
                    <a:gd name="T46" fmla="*/ 402 w 704"/>
                    <a:gd name="T47" fmla="*/ 1838 h 1854"/>
                    <a:gd name="T48" fmla="*/ 377 w 704"/>
                    <a:gd name="T49" fmla="*/ 1851 h 1854"/>
                    <a:gd name="T50" fmla="*/ 350 w 704"/>
                    <a:gd name="T51" fmla="*/ 1854 h 1854"/>
                    <a:gd name="T52" fmla="*/ 328 w 704"/>
                    <a:gd name="T53" fmla="*/ 1852 h 1854"/>
                    <a:gd name="T54" fmla="*/ 308 w 704"/>
                    <a:gd name="T55" fmla="*/ 1845 h 1854"/>
                    <a:gd name="T56" fmla="*/ 289 w 704"/>
                    <a:gd name="T57" fmla="*/ 1833 h 1854"/>
                    <a:gd name="T58" fmla="*/ 271 w 704"/>
                    <a:gd name="T59" fmla="*/ 1813 h 1854"/>
                    <a:gd name="T60" fmla="*/ 260 w 704"/>
                    <a:gd name="T61" fmla="*/ 1791 h 1854"/>
                    <a:gd name="T62" fmla="*/ 254 w 704"/>
                    <a:gd name="T63" fmla="*/ 1768 h 1854"/>
                    <a:gd name="T64" fmla="*/ 256 w 704"/>
                    <a:gd name="T65" fmla="*/ 1742 h 1854"/>
                    <a:gd name="T66" fmla="*/ 262 w 704"/>
                    <a:gd name="T67" fmla="*/ 1719 h 1854"/>
                    <a:gd name="T68" fmla="*/ 276 w 704"/>
                    <a:gd name="T69" fmla="*/ 1697 h 1854"/>
                    <a:gd name="T70" fmla="*/ 337 w 704"/>
                    <a:gd name="T71" fmla="*/ 1616 h 1854"/>
                    <a:gd name="T72" fmla="*/ 390 w 704"/>
                    <a:gd name="T73" fmla="*/ 1528 h 1854"/>
                    <a:gd name="T74" fmla="*/ 433 w 704"/>
                    <a:gd name="T75" fmla="*/ 1438 h 1854"/>
                    <a:gd name="T76" fmla="*/ 467 w 704"/>
                    <a:gd name="T77" fmla="*/ 1342 h 1854"/>
                    <a:gd name="T78" fmla="*/ 491 w 704"/>
                    <a:gd name="T79" fmla="*/ 1243 h 1854"/>
                    <a:gd name="T80" fmla="*/ 507 w 704"/>
                    <a:gd name="T81" fmla="*/ 1144 h 1854"/>
                    <a:gd name="T82" fmla="*/ 512 w 704"/>
                    <a:gd name="T83" fmla="*/ 1041 h 1854"/>
                    <a:gd name="T84" fmla="*/ 507 w 704"/>
                    <a:gd name="T85" fmla="*/ 947 h 1854"/>
                    <a:gd name="T86" fmla="*/ 494 w 704"/>
                    <a:gd name="T87" fmla="*/ 853 h 1854"/>
                    <a:gd name="T88" fmla="*/ 475 w 704"/>
                    <a:gd name="T89" fmla="*/ 763 h 1854"/>
                    <a:gd name="T90" fmla="*/ 446 w 704"/>
                    <a:gd name="T91" fmla="*/ 675 h 1854"/>
                    <a:gd name="T92" fmla="*/ 408 w 704"/>
                    <a:gd name="T93" fmla="*/ 590 h 1854"/>
                    <a:gd name="T94" fmla="*/ 364 w 704"/>
                    <a:gd name="T95" fmla="*/ 510 h 1854"/>
                    <a:gd name="T96" fmla="*/ 314 w 704"/>
                    <a:gd name="T97" fmla="*/ 433 h 1854"/>
                    <a:gd name="T98" fmla="*/ 256 w 704"/>
                    <a:gd name="T99" fmla="*/ 361 h 1854"/>
                    <a:gd name="T100" fmla="*/ 191 w 704"/>
                    <a:gd name="T101" fmla="*/ 294 h 1854"/>
                    <a:gd name="T102" fmla="*/ 119 w 704"/>
                    <a:gd name="T103" fmla="*/ 233 h 1854"/>
                    <a:gd name="T104" fmla="*/ 43 w 704"/>
                    <a:gd name="T105" fmla="*/ 177 h 1854"/>
                    <a:gd name="T106" fmla="*/ 23 w 704"/>
                    <a:gd name="T107" fmla="*/ 161 h 1854"/>
                    <a:gd name="T108" fmla="*/ 9 w 704"/>
                    <a:gd name="T109" fmla="*/ 139 h 1854"/>
                    <a:gd name="T110" fmla="*/ 2 w 704"/>
                    <a:gd name="T111" fmla="*/ 117 h 1854"/>
                    <a:gd name="T112" fmla="*/ 0 w 704"/>
                    <a:gd name="T113" fmla="*/ 92 h 1854"/>
                    <a:gd name="T114" fmla="*/ 3 w 704"/>
                    <a:gd name="T115" fmla="*/ 67 h 1854"/>
                    <a:gd name="T116" fmla="*/ 14 w 704"/>
                    <a:gd name="T117" fmla="*/ 45 h 1854"/>
                    <a:gd name="T118" fmla="*/ 32 w 704"/>
                    <a:gd name="T119" fmla="*/ 25 h 1854"/>
                    <a:gd name="T120" fmla="*/ 52 w 704"/>
                    <a:gd name="T121" fmla="*/ 11 h 1854"/>
                    <a:gd name="T122" fmla="*/ 76 w 704"/>
                    <a:gd name="T123" fmla="*/ 4 h 1854"/>
                    <a:gd name="T124" fmla="*/ 99 w 704"/>
                    <a:gd name="T125" fmla="*/ 0 h 1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4" h="1854">
                      <a:moveTo>
                        <a:pt x="99" y="0"/>
                      </a:moveTo>
                      <a:lnTo>
                        <a:pt x="124" y="5"/>
                      </a:lnTo>
                      <a:lnTo>
                        <a:pt x="148" y="16"/>
                      </a:lnTo>
                      <a:lnTo>
                        <a:pt x="233" y="76"/>
                      </a:lnTo>
                      <a:lnTo>
                        <a:pt x="310" y="143"/>
                      </a:lnTo>
                      <a:lnTo>
                        <a:pt x="381" y="215"/>
                      </a:lnTo>
                      <a:lnTo>
                        <a:pt x="447" y="290"/>
                      </a:lnTo>
                      <a:lnTo>
                        <a:pt x="505" y="372"/>
                      </a:lnTo>
                      <a:lnTo>
                        <a:pt x="556" y="458"/>
                      </a:lnTo>
                      <a:lnTo>
                        <a:pt x="601" y="548"/>
                      </a:lnTo>
                      <a:lnTo>
                        <a:pt x="637" y="642"/>
                      </a:lnTo>
                      <a:lnTo>
                        <a:pt x="666" y="738"/>
                      </a:lnTo>
                      <a:lnTo>
                        <a:pt x="687" y="837"/>
                      </a:lnTo>
                      <a:lnTo>
                        <a:pt x="700" y="938"/>
                      </a:lnTo>
                      <a:lnTo>
                        <a:pt x="704" y="1041"/>
                      </a:lnTo>
                      <a:lnTo>
                        <a:pt x="698" y="1147"/>
                      </a:lnTo>
                      <a:lnTo>
                        <a:pt x="686" y="1252"/>
                      </a:lnTo>
                      <a:lnTo>
                        <a:pt x="662" y="1355"/>
                      </a:lnTo>
                      <a:lnTo>
                        <a:pt x="632" y="1454"/>
                      </a:lnTo>
                      <a:lnTo>
                        <a:pt x="592" y="1551"/>
                      </a:lnTo>
                      <a:lnTo>
                        <a:pt x="543" y="1645"/>
                      </a:lnTo>
                      <a:lnTo>
                        <a:pt x="487" y="1735"/>
                      </a:lnTo>
                      <a:lnTo>
                        <a:pt x="424" y="1820"/>
                      </a:lnTo>
                      <a:lnTo>
                        <a:pt x="402" y="1838"/>
                      </a:lnTo>
                      <a:lnTo>
                        <a:pt x="377" y="1851"/>
                      </a:lnTo>
                      <a:lnTo>
                        <a:pt x="350" y="1854"/>
                      </a:lnTo>
                      <a:lnTo>
                        <a:pt x="328" y="1852"/>
                      </a:lnTo>
                      <a:lnTo>
                        <a:pt x="308" y="1845"/>
                      </a:lnTo>
                      <a:lnTo>
                        <a:pt x="289" y="1833"/>
                      </a:lnTo>
                      <a:lnTo>
                        <a:pt x="271" y="1813"/>
                      </a:lnTo>
                      <a:lnTo>
                        <a:pt x="260" y="1791"/>
                      </a:lnTo>
                      <a:lnTo>
                        <a:pt x="254" y="1768"/>
                      </a:lnTo>
                      <a:lnTo>
                        <a:pt x="256" y="1742"/>
                      </a:lnTo>
                      <a:lnTo>
                        <a:pt x="262" y="1719"/>
                      </a:lnTo>
                      <a:lnTo>
                        <a:pt x="276" y="1697"/>
                      </a:lnTo>
                      <a:lnTo>
                        <a:pt x="337" y="1616"/>
                      </a:lnTo>
                      <a:lnTo>
                        <a:pt x="390" y="1528"/>
                      </a:lnTo>
                      <a:lnTo>
                        <a:pt x="433" y="1438"/>
                      </a:lnTo>
                      <a:lnTo>
                        <a:pt x="467" y="1342"/>
                      </a:lnTo>
                      <a:lnTo>
                        <a:pt x="491" y="1243"/>
                      </a:lnTo>
                      <a:lnTo>
                        <a:pt x="507" y="1144"/>
                      </a:lnTo>
                      <a:lnTo>
                        <a:pt x="512" y="1041"/>
                      </a:lnTo>
                      <a:lnTo>
                        <a:pt x="507" y="947"/>
                      </a:lnTo>
                      <a:lnTo>
                        <a:pt x="494" y="853"/>
                      </a:lnTo>
                      <a:lnTo>
                        <a:pt x="475" y="763"/>
                      </a:lnTo>
                      <a:lnTo>
                        <a:pt x="446" y="675"/>
                      </a:lnTo>
                      <a:lnTo>
                        <a:pt x="408" y="590"/>
                      </a:lnTo>
                      <a:lnTo>
                        <a:pt x="364" y="510"/>
                      </a:lnTo>
                      <a:lnTo>
                        <a:pt x="314" y="433"/>
                      </a:lnTo>
                      <a:lnTo>
                        <a:pt x="256" y="361"/>
                      </a:lnTo>
                      <a:lnTo>
                        <a:pt x="191" y="294"/>
                      </a:lnTo>
                      <a:lnTo>
                        <a:pt x="119" y="233"/>
                      </a:lnTo>
                      <a:lnTo>
                        <a:pt x="43" y="177"/>
                      </a:lnTo>
                      <a:lnTo>
                        <a:pt x="23" y="161"/>
                      </a:lnTo>
                      <a:lnTo>
                        <a:pt x="9" y="139"/>
                      </a:lnTo>
                      <a:lnTo>
                        <a:pt x="2" y="117"/>
                      </a:lnTo>
                      <a:lnTo>
                        <a:pt x="0" y="92"/>
                      </a:lnTo>
                      <a:lnTo>
                        <a:pt x="3" y="67"/>
                      </a:lnTo>
                      <a:lnTo>
                        <a:pt x="14" y="45"/>
                      </a:lnTo>
                      <a:lnTo>
                        <a:pt x="32" y="25"/>
                      </a:lnTo>
                      <a:lnTo>
                        <a:pt x="52" y="11"/>
                      </a:lnTo>
                      <a:lnTo>
                        <a:pt x="76" y="4"/>
                      </a:lnTo>
                      <a:lnTo>
                        <a:pt x="9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7" name="Freeform 39">
                  <a:extLst>
                    <a:ext uri="{FF2B5EF4-FFF2-40B4-BE49-F238E27FC236}">
                      <a16:creationId xmlns:a16="http://schemas.microsoft.com/office/drawing/2014/main" id="{03D83D71-9CB1-C92B-838C-42D50E5D6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06376" y="2901950"/>
                  <a:ext cx="315913" cy="166688"/>
                </a:xfrm>
                <a:custGeom>
                  <a:avLst/>
                  <a:gdLst>
                    <a:gd name="T0" fmla="*/ 96 w 397"/>
                    <a:gd name="T1" fmla="*/ 0 h 211"/>
                    <a:gd name="T2" fmla="*/ 208 w 397"/>
                    <a:gd name="T3" fmla="*/ 5 h 211"/>
                    <a:gd name="T4" fmla="*/ 318 w 397"/>
                    <a:gd name="T5" fmla="*/ 22 h 211"/>
                    <a:gd name="T6" fmla="*/ 349 w 397"/>
                    <a:gd name="T7" fmla="*/ 31 h 211"/>
                    <a:gd name="T8" fmla="*/ 372 w 397"/>
                    <a:gd name="T9" fmla="*/ 49 h 211"/>
                    <a:gd name="T10" fmla="*/ 388 w 397"/>
                    <a:gd name="T11" fmla="*/ 74 h 211"/>
                    <a:gd name="T12" fmla="*/ 397 w 397"/>
                    <a:gd name="T13" fmla="*/ 103 h 211"/>
                    <a:gd name="T14" fmla="*/ 396 w 397"/>
                    <a:gd name="T15" fmla="*/ 133 h 211"/>
                    <a:gd name="T16" fmla="*/ 387 w 397"/>
                    <a:gd name="T17" fmla="*/ 159 h 211"/>
                    <a:gd name="T18" fmla="*/ 372 w 397"/>
                    <a:gd name="T19" fmla="*/ 180 h 211"/>
                    <a:gd name="T20" fmla="*/ 352 w 397"/>
                    <a:gd name="T21" fmla="*/ 196 h 211"/>
                    <a:gd name="T22" fmla="*/ 329 w 397"/>
                    <a:gd name="T23" fmla="*/ 207 h 211"/>
                    <a:gd name="T24" fmla="*/ 302 w 397"/>
                    <a:gd name="T25" fmla="*/ 211 h 211"/>
                    <a:gd name="T26" fmla="*/ 284 w 397"/>
                    <a:gd name="T27" fmla="*/ 209 h 211"/>
                    <a:gd name="T28" fmla="*/ 192 w 397"/>
                    <a:gd name="T29" fmla="*/ 196 h 211"/>
                    <a:gd name="T30" fmla="*/ 96 w 397"/>
                    <a:gd name="T31" fmla="*/ 193 h 211"/>
                    <a:gd name="T32" fmla="*/ 65 w 397"/>
                    <a:gd name="T33" fmla="*/ 187 h 211"/>
                    <a:gd name="T34" fmla="*/ 40 w 397"/>
                    <a:gd name="T35" fmla="*/ 175 h 211"/>
                    <a:gd name="T36" fmla="*/ 18 w 397"/>
                    <a:gd name="T37" fmla="*/ 153 h 211"/>
                    <a:gd name="T38" fmla="*/ 6 w 397"/>
                    <a:gd name="T39" fmla="*/ 128 h 211"/>
                    <a:gd name="T40" fmla="*/ 0 w 397"/>
                    <a:gd name="T41" fmla="*/ 97 h 211"/>
                    <a:gd name="T42" fmla="*/ 6 w 397"/>
                    <a:gd name="T43" fmla="*/ 67 h 211"/>
                    <a:gd name="T44" fmla="*/ 18 w 397"/>
                    <a:gd name="T45" fmla="*/ 40 h 211"/>
                    <a:gd name="T46" fmla="*/ 40 w 397"/>
                    <a:gd name="T47" fmla="*/ 20 h 211"/>
                    <a:gd name="T48" fmla="*/ 65 w 397"/>
                    <a:gd name="T49" fmla="*/ 5 h 211"/>
                    <a:gd name="T50" fmla="*/ 96 w 397"/>
                    <a:gd name="T51" fmla="*/ 0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97" h="211">
                      <a:moveTo>
                        <a:pt x="96" y="0"/>
                      </a:moveTo>
                      <a:lnTo>
                        <a:pt x="208" y="5"/>
                      </a:lnTo>
                      <a:lnTo>
                        <a:pt x="318" y="22"/>
                      </a:lnTo>
                      <a:lnTo>
                        <a:pt x="349" y="31"/>
                      </a:lnTo>
                      <a:lnTo>
                        <a:pt x="372" y="49"/>
                      </a:lnTo>
                      <a:lnTo>
                        <a:pt x="388" y="74"/>
                      </a:lnTo>
                      <a:lnTo>
                        <a:pt x="397" y="103"/>
                      </a:lnTo>
                      <a:lnTo>
                        <a:pt x="396" y="133"/>
                      </a:lnTo>
                      <a:lnTo>
                        <a:pt x="387" y="159"/>
                      </a:lnTo>
                      <a:lnTo>
                        <a:pt x="372" y="180"/>
                      </a:lnTo>
                      <a:lnTo>
                        <a:pt x="352" y="196"/>
                      </a:lnTo>
                      <a:lnTo>
                        <a:pt x="329" y="207"/>
                      </a:lnTo>
                      <a:lnTo>
                        <a:pt x="302" y="211"/>
                      </a:lnTo>
                      <a:lnTo>
                        <a:pt x="284" y="209"/>
                      </a:lnTo>
                      <a:lnTo>
                        <a:pt x="192" y="196"/>
                      </a:lnTo>
                      <a:lnTo>
                        <a:pt x="96" y="193"/>
                      </a:lnTo>
                      <a:lnTo>
                        <a:pt x="65" y="187"/>
                      </a:lnTo>
                      <a:lnTo>
                        <a:pt x="40" y="175"/>
                      </a:lnTo>
                      <a:lnTo>
                        <a:pt x="18" y="153"/>
                      </a:lnTo>
                      <a:lnTo>
                        <a:pt x="6" y="128"/>
                      </a:lnTo>
                      <a:lnTo>
                        <a:pt x="0" y="97"/>
                      </a:lnTo>
                      <a:lnTo>
                        <a:pt x="6" y="67"/>
                      </a:lnTo>
                      <a:lnTo>
                        <a:pt x="18" y="40"/>
                      </a:lnTo>
                      <a:lnTo>
                        <a:pt x="40" y="20"/>
                      </a:lnTo>
                      <a:lnTo>
                        <a:pt x="65" y="5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38A366F-650B-AD2A-3792-D01598348B21}"/>
                </a:ext>
              </a:extLst>
            </p:cNvPr>
            <p:cNvSpPr txBox="1"/>
            <p:nvPr/>
          </p:nvSpPr>
          <p:spPr>
            <a:xfrm>
              <a:off x="1209561" y="3872139"/>
              <a:ext cx="272779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Staffing </a:t>
              </a:r>
            </a:p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&amp; </a:t>
              </a:r>
            </a:p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Strategic Consulting  </a:t>
              </a:r>
              <a:endParaRPr lang="en-IN" sz="1100" b="1" dirty="0">
                <a:latin typeface="Montserrat" panose="00000500000000000000" pitchFamily="50" charset="0"/>
                <a:cs typeface="Arial" pitchFamily="34" charset="0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7472520-BD43-C0D3-D15A-A56EAC2B9DDB}"/>
                </a:ext>
              </a:extLst>
            </p:cNvPr>
            <p:cNvGrpSpPr/>
            <p:nvPr/>
          </p:nvGrpSpPr>
          <p:grpSpPr>
            <a:xfrm>
              <a:off x="3866075" y="3843419"/>
              <a:ext cx="1126906" cy="1099203"/>
              <a:chOff x="2465264" y="4656578"/>
              <a:chExt cx="1083597" cy="1083596"/>
            </a:xfrm>
          </p:grpSpPr>
          <p:sp>
            <p:nvSpPr>
              <p:cNvPr id="50" name="Freeform 18">
                <a:extLst>
                  <a:ext uri="{FF2B5EF4-FFF2-40B4-BE49-F238E27FC236}">
                    <a16:creationId xmlns:a16="http://schemas.microsoft.com/office/drawing/2014/main" id="{3E835A03-4528-D706-98BF-2C8112C54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264" y="4656578"/>
                <a:ext cx="1083597" cy="1083596"/>
              </a:xfrm>
              <a:custGeom>
                <a:avLst/>
                <a:gdLst>
                  <a:gd name="T0" fmla="*/ 453 w 954"/>
                  <a:gd name="T1" fmla="*/ 0 h 954"/>
                  <a:gd name="T2" fmla="*/ 505 w 954"/>
                  <a:gd name="T3" fmla="*/ 0 h 954"/>
                  <a:gd name="T4" fmla="*/ 557 w 954"/>
                  <a:gd name="T5" fmla="*/ 6 h 954"/>
                  <a:gd name="T6" fmla="*/ 608 w 954"/>
                  <a:gd name="T7" fmla="*/ 18 h 954"/>
                  <a:gd name="T8" fmla="*/ 657 w 954"/>
                  <a:gd name="T9" fmla="*/ 35 h 954"/>
                  <a:gd name="T10" fmla="*/ 705 w 954"/>
                  <a:gd name="T11" fmla="*/ 57 h 954"/>
                  <a:gd name="T12" fmla="*/ 750 w 954"/>
                  <a:gd name="T13" fmla="*/ 85 h 954"/>
                  <a:gd name="T14" fmla="*/ 792 w 954"/>
                  <a:gd name="T15" fmla="*/ 118 h 954"/>
                  <a:gd name="T16" fmla="*/ 830 w 954"/>
                  <a:gd name="T17" fmla="*/ 156 h 954"/>
                  <a:gd name="T18" fmla="*/ 864 w 954"/>
                  <a:gd name="T19" fmla="*/ 197 h 954"/>
                  <a:gd name="T20" fmla="*/ 894 w 954"/>
                  <a:gd name="T21" fmla="*/ 245 h 954"/>
                  <a:gd name="T22" fmla="*/ 918 w 954"/>
                  <a:gd name="T23" fmla="*/ 296 h 954"/>
                  <a:gd name="T24" fmla="*/ 935 w 954"/>
                  <a:gd name="T25" fmla="*/ 347 h 954"/>
                  <a:gd name="T26" fmla="*/ 947 w 954"/>
                  <a:gd name="T27" fmla="*/ 399 h 954"/>
                  <a:gd name="T28" fmla="*/ 954 w 954"/>
                  <a:gd name="T29" fmla="*/ 451 h 954"/>
                  <a:gd name="T30" fmla="*/ 954 w 954"/>
                  <a:gd name="T31" fmla="*/ 505 h 954"/>
                  <a:gd name="T32" fmla="*/ 947 w 954"/>
                  <a:gd name="T33" fmla="*/ 557 h 954"/>
                  <a:gd name="T34" fmla="*/ 935 w 954"/>
                  <a:gd name="T35" fmla="*/ 608 h 954"/>
                  <a:gd name="T36" fmla="*/ 918 w 954"/>
                  <a:gd name="T37" fmla="*/ 657 h 954"/>
                  <a:gd name="T38" fmla="*/ 896 w 954"/>
                  <a:gd name="T39" fmla="*/ 705 h 954"/>
                  <a:gd name="T40" fmla="*/ 869 w 954"/>
                  <a:gd name="T41" fmla="*/ 750 h 954"/>
                  <a:gd name="T42" fmla="*/ 836 w 954"/>
                  <a:gd name="T43" fmla="*/ 792 h 954"/>
                  <a:gd name="T44" fmla="*/ 798 w 954"/>
                  <a:gd name="T45" fmla="*/ 830 h 954"/>
                  <a:gd name="T46" fmla="*/ 756 w 954"/>
                  <a:gd name="T47" fmla="*/ 864 h 954"/>
                  <a:gd name="T48" fmla="*/ 709 w 954"/>
                  <a:gd name="T49" fmla="*/ 894 h 954"/>
                  <a:gd name="T50" fmla="*/ 658 w 954"/>
                  <a:gd name="T51" fmla="*/ 919 h 954"/>
                  <a:gd name="T52" fmla="*/ 607 w 954"/>
                  <a:gd name="T53" fmla="*/ 936 h 954"/>
                  <a:gd name="T54" fmla="*/ 555 w 954"/>
                  <a:gd name="T55" fmla="*/ 948 h 954"/>
                  <a:gd name="T56" fmla="*/ 501 w 954"/>
                  <a:gd name="T57" fmla="*/ 954 h 954"/>
                  <a:gd name="T58" fmla="*/ 449 w 954"/>
                  <a:gd name="T59" fmla="*/ 953 h 954"/>
                  <a:gd name="T60" fmla="*/ 396 w 954"/>
                  <a:gd name="T61" fmla="*/ 948 h 954"/>
                  <a:gd name="T62" fmla="*/ 345 w 954"/>
                  <a:gd name="T63" fmla="*/ 936 h 954"/>
                  <a:gd name="T64" fmla="*/ 297 w 954"/>
                  <a:gd name="T65" fmla="*/ 919 h 954"/>
                  <a:gd name="T66" fmla="*/ 249 w 954"/>
                  <a:gd name="T67" fmla="*/ 896 h 954"/>
                  <a:gd name="T68" fmla="*/ 204 w 954"/>
                  <a:gd name="T69" fmla="*/ 869 h 954"/>
                  <a:gd name="T70" fmla="*/ 162 w 954"/>
                  <a:gd name="T71" fmla="*/ 836 h 954"/>
                  <a:gd name="T72" fmla="*/ 124 w 954"/>
                  <a:gd name="T73" fmla="*/ 798 h 954"/>
                  <a:gd name="T74" fmla="*/ 90 w 954"/>
                  <a:gd name="T75" fmla="*/ 755 h 954"/>
                  <a:gd name="T76" fmla="*/ 60 w 954"/>
                  <a:gd name="T77" fmla="*/ 708 h 954"/>
                  <a:gd name="T78" fmla="*/ 35 w 954"/>
                  <a:gd name="T79" fmla="*/ 658 h 954"/>
                  <a:gd name="T80" fmla="*/ 18 w 954"/>
                  <a:gd name="T81" fmla="*/ 607 h 954"/>
                  <a:gd name="T82" fmla="*/ 7 w 954"/>
                  <a:gd name="T83" fmla="*/ 555 h 954"/>
                  <a:gd name="T84" fmla="*/ 0 w 954"/>
                  <a:gd name="T85" fmla="*/ 501 h 954"/>
                  <a:gd name="T86" fmla="*/ 0 w 954"/>
                  <a:gd name="T87" fmla="*/ 449 h 954"/>
                  <a:gd name="T88" fmla="*/ 7 w 954"/>
                  <a:gd name="T89" fmla="*/ 396 h 954"/>
                  <a:gd name="T90" fmla="*/ 18 w 954"/>
                  <a:gd name="T91" fmla="*/ 345 h 954"/>
                  <a:gd name="T92" fmla="*/ 35 w 954"/>
                  <a:gd name="T93" fmla="*/ 296 h 954"/>
                  <a:gd name="T94" fmla="*/ 58 w 954"/>
                  <a:gd name="T95" fmla="*/ 248 h 954"/>
                  <a:gd name="T96" fmla="*/ 85 w 954"/>
                  <a:gd name="T97" fmla="*/ 204 h 954"/>
                  <a:gd name="T98" fmla="*/ 118 w 954"/>
                  <a:gd name="T99" fmla="*/ 162 h 954"/>
                  <a:gd name="T100" fmla="*/ 156 w 954"/>
                  <a:gd name="T101" fmla="*/ 124 h 954"/>
                  <a:gd name="T102" fmla="*/ 198 w 954"/>
                  <a:gd name="T103" fmla="*/ 89 h 954"/>
                  <a:gd name="T104" fmla="*/ 245 w 954"/>
                  <a:gd name="T105" fmla="*/ 60 h 954"/>
                  <a:gd name="T106" fmla="*/ 296 w 954"/>
                  <a:gd name="T107" fmla="*/ 35 h 954"/>
                  <a:gd name="T108" fmla="*/ 347 w 954"/>
                  <a:gd name="T109" fmla="*/ 17 h 954"/>
                  <a:gd name="T110" fmla="*/ 399 w 954"/>
                  <a:gd name="T111" fmla="*/ 5 h 954"/>
                  <a:gd name="T112" fmla="*/ 453 w 954"/>
                  <a:gd name="T113" fmla="*/ 0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54" h="954">
                    <a:moveTo>
                      <a:pt x="453" y="0"/>
                    </a:moveTo>
                    <a:lnTo>
                      <a:pt x="505" y="0"/>
                    </a:lnTo>
                    <a:lnTo>
                      <a:pt x="557" y="6"/>
                    </a:lnTo>
                    <a:lnTo>
                      <a:pt x="608" y="18"/>
                    </a:lnTo>
                    <a:lnTo>
                      <a:pt x="657" y="35"/>
                    </a:lnTo>
                    <a:lnTo>
                      <a:pt x="705" y="57"/>
                    </a:lnTo>
                    <a:lnTo>
                      <a:pt x="750" y="85"/>
                    </a:lnTo>
                    <a:lnTo>
                      <a:pt x="792" y="118"/>
                    </a:lnTo>
                    <a:lnTo>
                      <a:pt x="830" y="156"/>
                    </a:lnTo>
                    <a:lnTo>
                      <a:pt x="864" y="197"/>
                    </a:lnTo>
                    <a:lnTo>
                      <a:pt x="894" y="245"/>
                    </a:lnTo>
                    <a:lnTo>
                      <a:pt x="918" y="296"/>
                    </a:lnTo>
                    <a:lnTo>
                      <a:pt x="935" y="347"/>
                    </a:lnTo>
                    <a:lnTo>
                      <a:pt x="947" y="399"/>
                    </a:lnTo>
                    <a:lnTo>
                      <a:pt x="954" y="451"/>
                    </a:lnTo>
                    <a:lnTo>
                      <a:pt x="954" y="505"/>
                    </a:lnTo>
                    <a:lnTo>
                      <a:pt x="947" y="557"/>
                    </a:lnTo>
                    <a:lnTo>
                      <a:pt x="935" y="608"/>
                    </a:lnTo>
                    <a:lnTo>
                      <a:pt x="918" y="657"/>
                    </a:lnTo>
                    <a:lnTo>
                      <a:pt x="896" y="705"/>
                    </a:lnTo>
                    <a:lnTo>
                      <a:pt x="869" y="750"/>
                    </a:lnTo>
                    <a:lnTo>
                      <a:pt x="836" y="792"/>
                    </a:lnTo>
                    <a:lnTo>
                      <a:pt x="798" y="830"/>
                    </a:lnTo>
                    <a:lnTo>
                      <a:pt x="756" y="864"/>
                    </a:lnTo>
                    <a:lnTo>
                      <a:pt x="709" y="894"/>
                    </a:lnTo>
                    <a:lnTo>
                      <a:pt x="658" y="919"/>
                    </a:lnTo>
                    <a:lnTo>
                      <a:pt x="607" y="936"/>
                    </a:lnTo>
                    <a:lnTo>
                      <a:pt x="555" y="948"/>
                    </a:lnTo>
                    <a:lnTo>
                      <a:pt x="501" y="954"/>
                    </a:lnTo>
                    <a:lnTo>
                      <a:pt x="449" y="953"/>
                    </a:lnTo>
                    <a:lnTo>
                      <a:pt x="396" y="948"/>
                    </a:lnTo>
                    <a:lnTo>
                      <a:pt x="345" y="936"/>
                    </a:lnTo>
                    <a:lnTo>
                      <a:pt x="297" y="919"/>
                    </a:lnTo>
                    <a:lnTo>
                      <a:pt x="249" y="896"/>
                    </a:lnTo>
                    <a:lnTo>
                      <a:pt x="204" y="869"/>
                    </a:lnTo>
                    <a:lnTo>
                      <a:pt x="162" y="836"/>
                    </a:lnTo>
                    <a:lnTo>
                      <a:pt x="124" y="798"/>
                    </a:lnTo>
                    <a:lnTo>
                      <a:pt x="90" y="755"/>
                    </a:lnTo>
                    <a:lnTo>
                      <a:pt x="60" y="708"/>
                    </a:lnTo>
                    <a:lnTo>
                      <a:pt x="35" y="658"/>
                    </a:lnTo>
                    <a:lnTo>
                      <a:pt x="18" y="607"/>
                    </a:lnTo>
                    <a:lnTo>
                      <a:pt x="7" y="555"/>
                    </a:lnTo>
                    <a:lnTo>
                      <a:pt x="0" y="501"/>
                    </a:lnTo>
                    <a:lnTo>
                      <a:pt x="0" y="449"/>
                    </a:lnTo>
                    <a:lnTo>
                      <a:pt x="7" y="396"/>
                    </a:lnTo>
                    <a:lnTo>
                      <a:pt x="18" y="345"/>
                    </a:lnTo>
                    <a:lnTo>
                      <a:pt x="35" y="296"/>
                    </a:lnTo>
                    <a:lnTo>
                      <a:pt x="58" y="248"/>
                    </a:lnTo>
                    <a:lnTo>
                      <a:pt x="85" y="204"/>
                    </a:lnTo>
                    <a:lnTo>
                      <a:pt x="118" y="162"/>
                    </a:lnTo>
                    <a:lnTo>
                      <a:pt x="156" y="124"/>
                    </a:lnTo>
                    <a:lnTo>
                      <a:pt x="198" y="89"/>
                    </a:lnTo>
                    <a:lnTo>
                      <a:pt x="245" y="60"/>
                    </a:lnTo>
                    <a:lnTo>
                      <a:pt x="296" y="35"/>
                    </a:lnTo>
                    <a:lnTo>
                      <a:pt x="347" y="17"/>
                    </a:lnTo>
                    <a:lnTo>
                      <a:pt x="399" y="5"/>
                    </a:lnTo>
                    <a:lnTo>
                      <a:pt x="453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pic>
            <p:nvPicPr>
              <p:cNvPr id="51" name="Graphic 50" descr="Signal">
                <a:extLst>
                  <a:ext uri="{FF2B5EF4-FFF2-40B4-BE49-F238E27FC236}">
                    <a16:creationId xmlns:a16="http://schemas.microsoft.com/office/drawing/2014/main" id="{ED445429-63A6-CAC6-594D-823580FA88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620534" y="4819810"/>
                <a:ext cx="736422" cy="736422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49E3FC-2637-B45E-0329-62B27EBF6EA2}"/>
                </a:ext>
              </a:extLst>
            </p:cNvPr>
            <p:cNvGrpSpPr/>
            <p:nvPr/>
          </p:nvGrpSpPr>
          <p:grpSpPr>
            <a:xfrm>
              <a:off x="1628237" y="2340794"/>
              <a:ext cx="3710585" cy="1150342"/>
              <a:chOff x="1628805" y="2770236"/>
              <a:chExt cx="3710585" cy="1150342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182D2416-625F-3ED9-95E2-60F76C1029EB}"/>
                  </a:ext>
                </a:extLst>
              </p:cNvPr>
              <p:cNvGrpSpPr/>
              <p:nvPr/>
            </p:nvGrpSpPr>
            <p:grpSpPr>
              <a:xfrm>
                <a:off x="4213665" y="2821375"/>
                <a:ext cx="1125725" cy="1099203"/>
                <a:chOff x="2497691" y="2809652"/>
                <a:chExt cx="1082461" cy="1083596"/>
              </a:xfrm>
            </p:grpSpPr>
            <p:sp>
              <p:nvSpPr>
                <p:cNvPr id="38" name="Freeform 19">
                  <a:extLst>
                    <a:ext uri="{FF2B5EF4-FFF2-40B4-BE49-F238E27FC236}">
                      <a16:creationId xmlns:a16="http://schemas.microsoft.com/office/drawing/2014/main" id="{7E5F3899-7573-A7DD-69D5-F3BA96B3F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7691" y="2809652"/>
                  <a:ext cx="1082461" cy="1083596"/>
                </a:xfrm>
                <a:custGeom>
                  <a:avLst/>
                  <a:gdLst>
                    <a:gd name="T0" fmla="*/ 460 w 953"/>
                    <a:gd name="T1" fmla="*/ 0 h 954"/>
                    <a:gd name="T2" fmla="*/ 513 w 953"/>
                    <a:gd name="T3" fmla="*/ 0 h 954"/>
                    <a:gd name="T4" fmla="*/ 565 w 953"/>
                    <a:gd name="T5" fmla="*/ 8 h 954"/>
                    <a:gd name="T6" fmla="*/ 617 w 953"/>
                    <a:gd name="T7" fmla="*/ 21 h 954"/>
                    <a:gd name="T8" fmla="*/ 668 w 953"/>
                    <a:gd name="T9" fmla="*/ 39 h 954"/>
                    <a:gd name="T10" fmla="*/ 718 w 953"/>
                    <a:gd name="T11" fmla="*/ 64 h 954"/>
                    <a:gd name="T12" fmla="*/ 764 w 953"/>
                    <a:gd name="T13" fmla="*/ 95 h 954"/>
                    <a:gd name="T14" fmla="*/ 806 w 953"/>
                    <a:gd name="T15" fmla="*/ 131 h 954"/>
                    <a:gd name="T16" fmla="*/ 842 w 953"/>
                    <a:gd name="T17" fmla="*/ 170 h 954"/>
                    <a:gd name="T18" fmla="*/ 875 w 953"/>
                    <a:gd name="T19" fmla="*/ 212 h 954"/>
                    <a:gd name="T20" fmla="*/ 901 w 953"/>
                    <a:gd name="T21" fmla="*/ 258 h 954"/>
                    <a:gd name="T22" fmla="*/ 922 w 953"/>
                    <a:gd name="T23" fmla="*/ 306 h 954"/>
                    <a:gd name="T24" fmla="*/ 939 w 953"/>
                    <a:gd name="T25" fmla="*/ 356 h 954"/>
                    <a:gd name="T26" fmla="*/ 950 w 953"/>
                    <a:gd name="T27" fmla="*/ 407 h 954"/>
                    <a:gd name="T28" fmla="*/ 953 w 953"/>
                    <a:gd name="T29" fmla="*/ 459 h 954"/>
                    <a:gd name="T30" fmla="*/ 953 w 953"/>
                    <a:gd name="T31" fmla="*/ 512 h 954"/>
                    <a:gd name="T32" fmla="*/ 946 w 953"/>
                    <a:gd name="T33" fmla="*/ 564 h 954"/>
                    <a:gd name="T34" fmla="*/ 933 w 953"/>
                    <a:gd name="T35" fmla="*/ 616 h 954"/>
                    <a:gd name="T36" fmla="*/ 914 w 953"/>
                    <a:gd name="T37" fmla="*/ 667 h 954"/>
                    <a:gd name="T38" fmla="*/ 888 w 953"/>
                    <a:gd name="T39" fmla="*/ 717 h 954"/>
                    <a:gd name="T40" fmla="*/ 858 w 953"/>
                    <a:gd name="T41" fmla="*/ 764 h 954"/>
                    <a:gd name="T42" fmla="*/ 823 w 953"/>
                    <a:gd name="T43" fmla="*/ 806 h 954"/>
                    <a:gd name="T44" fmla="*/ 783 w 953"/>
                    <a:gd name="T45" fmla="*/ 843 h 954"/>
                    <a:gd name="T46" fmla="*/ 740 w 953"/>
                    <a:gd name="T47" fmla="*/ 874 h 954"/>
                    <a:gd name="T48" fmla="*/ 696 w 953"/>
                    <a:gd name="T49" fmla="*/ 900 h 954"/>
                    <a:gd name="T50" fmla="*/ 647 w 953"/>
                    <a:gd name="T51" fmla="*/ 923 h 954"/>
                    <a:gd name="T52" fmla="*/ 598 w 953"/>
                    <a:gd name="T53" fmla="*/ 938 h 954"/>
                    <a:gd name="T54" fmla="*/ 547 w 953"/>
                    <a:gd name="T55" fmla="*/ 949 h 954"/>
                    <a:gd name="T56" fmla="*/ 494 w 953"/>
                    <a:gd name="T57" fmla="*/ 954 h 954"/>
                    <a:gd name="T58" fmla="*/ 442 w 953"/>
                    <a:gd name="T59" fmla="*/ 953 h 954"/>
                    <a:gd name="T60" fmla="*/ 388 w 953"/>
                    <a:gd name="T61" fmla="*/ 946 h 954"/>
                    <a:gd name="T62" fmla="*/ 337 w 953"/>
                    <a:gd name="T63" fmla="*/ 933 h 954"/>
                    <a:gd name="T64" fmla="*/ 285 w 953"/>
                    <a:gd name="T65" fmla="*/ 913 h 954"/>
                    <a:gd name="T66" fmla="*/ 236 w 953"/>
                    <a:gd name="T67" fmla="*/ 889 h 954"/>
                    <a:gd name="T68" fmla="*/ 189 w 953"/>
                    <a:gd name="T69" fmla="*/ 857 h 954"/>
                    <a:gd name="T70" fmla="*/ 147 w 953"/>
                    <a:gd name="T71" fmla="*/ 822 h 954"/>
                    <a:gd name="T72" fmla="*/ 111 w 953"/>
                    <a:gd name="T73" fmla="*/ 783 h 954"/>
                    <a:gd name="T74" fmla="*/ 79 w 953"/>
                    <a:gd name="T75" fmla="*/ 741 h 954"/>
                    <a:gd name="T76" fmla="*/ 53 w 953"/>
                    <a:gd name="T77" fmla="*/ 695 h 954"/>
                    <a:gd name="T78" fmla="*/ 31 w 953"/>
                    <a:gd name="T79" fmla="*/ 648 h 954"/>
                    <a:gd name="T80" fmla="*/ 15 w 953"/>
                    <a:gd name="T81" fmla="*/ 597 h 954"/>
                    <a:gd name="T82" fmla="*/ 5 w 953"/>
                    <a:gd name="T83" fmla="*/ 546 h 954"/>
                    <a:gd name="T84" fmla="*/ 0 w 953"/>
                    <a:gd name="T85" fmla="*/ 493 h 954"/>
                    <a:gd name="T86" fmla="*/ 1 w 953"/>
                    <a:gd name="T87" fmla="*/ 441 h 954"/>
                    <a:gd name="T88" fmla="*/ 7 w 953"/>
                    <a:gd name="T89" fmla="*/ 388 h 954"/>
                    <a:gd name="T90" fmla="*/ 21 w 953"/>
                    <a:gd name="T91" fmla="*/ 336 h 954"/>
                    <a:gd name="T92" fmla="*/ 40 w 953"/>
                    <a:gd name="T93" fmla="*/ 285 h 954"/>
                    <a:gd name="T94" fmla="*/ 65 w 953"/>
                    <a:gd name="T95" fmla="*/ 235 h 954"/>
                    <a:gd name="T96" fmla="*/ 96 w 953"/>
                    <a:gd name="T97" fmla="*/ 188 h 954"/>
                    <a:gd name="T98" fmla="*/ 132 w 953"/>
                    <a:gd name="T99" fmla="*/ 148 h 954"/>
                    <a:gd name="T100" fmla="*/ 171 w 953"/>
                    <a:gd name="T101" fmla="*/ 111 h 954"/>
                    <a:gd name="T102" fmla="*/ 213 w 953"/>
                    <a:gd name="T103" fmla="*/ 78 h 954"/>
                    <a:gd name="T104" fmla="*/ 259 w 953"/>
                    <a:gd name="T105" fmla="*/ 52 h 954"/>
                    <a:gd name="T106" fmla="*/ 306 w 953"/>
                    <a:gd name="T107" fmla="*/ 31 h 954"/>
                    <a:gd name="T108" fmla="*/ 356 w 953"/>
                    <a:gd name="T109" fmla="*/ 14 h 954"/>
                    <a:gd name="T110" fmla="*/ 408 w 953"/>
                    <a:gd name="T111" fmla="*/ 4 h 954"/>
                    <a:gd name="T112" fmla="*/ 460 w 953"/>
                    <a:gd name="T113" fmla="*/ 0 h 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953" h="954">
                      <a:moveTo>
                        <a:pt x="460" y="0"/>
                      </a:moveTo>
                      <a:lnTo>
                        <a:pt x="513" y="0"/>
                      </a:lnTo>
                      <a:lnTo>
                        <a:pt x="565" y="8"/>
                      </a:lnTo>
                      <a:lnTo>
                        <a:pt x="617" y="21"/>
                      </a:lnTo>
                      <a:lnTo>
                        <a:pt x="668" y="39"/>
                      </a:lnTo>
                      <a:lnTo>
                        <a:pt x="718" y="64"/>
                      </a:lnTo>
                      <a:lnTo>
                        <a:pt x="764" y="95"/>
                      </a:lnTo>
                      <a:lnTo>
                        <a:pt x="806" y="131"/>
                      </a:lnTo>
                      <a:lnTo>
                        <a:pt x="842" y="170"/>
                      </a:lnTo>
                      <a:lnTo>
                        <a:pt x="875" y="212"/>
                      </a:lnTo>
                      <a:lnTo>
                        <a:pt x="901" y="258"/>
                      </a:lnTo>
                      <a:lnTo>
                        <a:pt x="922" y="306"/>
                      </a:lnTo>
                      <a:lnTo>
                        <a:pt x="939" y="356"/>
                      </a:lnTo>
                      <a:lnTo>
                        <a:pt x="950" y="407"/>
                      </a:lnTo>
                      <a:lnTo>
                        <a:pt x="953" y="459"/>
                      </a:lnTo>
                      <a:lnTo>
                        <a:pt x="953" y="512"/>
                      </a:lnTo>
                      <a:lnTo>
                        <a:pt x="946" y="564"/>
                      </a:lnTo>
                      <a:lnTo>
                        <a:pt x="933" y="616"/>
                      </a:lnTo>
                      <a:lnTo>
                        <a:pt x="914" y="667"/>
                      </a:lnTo>
                      <a:lnTo>
                        <a:pt x="888" y="717"/>
                      </a:lnTo>
                      <a:lnTo>
                        <a:pt x="858" y="764"/>
                      </a:lnTo>
                      <a:lnTo>
                        <a:pt x="823" y="806"/>
                      </a:lnTo>
                      <a:lnTo>
                        <a:pt x="783" y="843"/>
                      </a:lnTo>
                      <a:lnTo>
                        <a:pt x="740" y="874"/>
                      </a:lnTo>
                      <a:lnTo>
                        <a:pt x="696" y="900"/>
                      </a:lnTo>
                      <a:lnTo>
                        <a:pt x="647" y="923"/>
                      </a:lnTo>
                      <a:lnTo>
                        <a:pt x="598" y="938"/>
                      </a:lnTo>
                      <a:lnTo>
                        <a:pt x="547" y="949"/>
                      </a:lnTo>
                      <a:lnTo>
                        <a:pt x="494" y="954"/>
                      </a:lnTo>
                      <a:lnTo>
                        <a:pt x="442" y="953"/>
                      </a:lnTo>
                      <a:lnTo>
                        <a:pt x="388" y="946"/>
                      </a:lnTo>
                      <a:lnTo>
                        <a:pt x="337" y="933"/>
                      </a:lnTo>
                      <a:lnTo>
                        <a:pt x="285" y="913"/>
                      </a:lnTo>
                      <a:lnTo>
                        <a:pt x="236" y="889"/>
                      </a:lnTo>
                      <a:lnTo>
                        <a:pt x="189" y="857"/>
                      </a:lnTo>
                      <a:lnTo>
                        <a:pt x="147" y="822"/>
                      </a:lnTo>
                      <a:lnTo>
                        <a:pt x="111" y="783"/>
                      </a:lnTo>
                      <a:lnTo>
                        <a:pt x="79" y="741"/>
                      </a:lnTo>
                      <a:lnTo>
                        <a:pt x="53" y="695"/>
                      </a:lnTo>
                      <a:lnTo>
                        <a:pt x="31" y="648"/>
                      </a:lnTo>
                      <a:lnTo>
                        <a:pt x="15" y="597"/>
                      </a:lnTo>
                      <a:lnTo>
                        <a:pt x="5" y="546"/>
                      </a:lnTo>
                      <a:lnTo>
                        <a:pt x="0" y="493"/>
                      </a:lnTo>
                      <a:lnTo>
                        <a:pt x="1" y="441"/>
                      </a:lnTo>
                      <a:lnTo>
                        <a:pt x="7" y="388"/>
                      </a:lnTo>
                      <a:lnTo>
                        <a:pt x="21" y="336"/>
                      </a:lnTo>
                      <a:lnTo>
                        <a:pt x="40" y="285"/>
                      </a:lnTo>
                      <a:lnTo>
                        <a:pt x="65" y="235"/>
                      </a:lnTo>
                      <a:lnTo>
                        <a:pt x="96" y="188"/>
                      </a:lnTo>
                      <a:lnTo>
                        <a:pt x="132" y="148"/>
                      </a:lnTo>
                      <a:lnTo>
                        <a:pt x="171" y="111"/>
                      </a:lnTo>
                      <a:lnTo>
                        <a:pt x="213" y="78"/>
                      </a:lnTo>
                      <a:lnTo>
                        <a:pt x="259" y="52"/>
                      </a:lnTo>
                      <a:lnTo>
                        <a:pt x="306" y="31"/>
                      </a:lnTo>
                      <a:lnTo>
                        <a:pt x="356" y="14"/>
                      </a:lnTo>
                      <a:lnTo>
                        <a:pt x="408" y="4"/>
                      </a:lnTo>
                      <a:lnTo>
                        <a:pt x="46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1BE63417-C02F-BDAE-05C6-46C6B01627CF}"/>
                    </a:ext>
                  </a:extLst>
                </p:cNvPr>
                <p:cNvGrpSpPr/>
                <p:nvPr/>
              </p:nvGrpSpPr>
              <p:grpSpPr>
                <a:xfrm>
                  <a:off x="2809815" y="3098432"/>
                  <a:ext cx="454584" cy="496213"/>
                  <a:chOff x="10285413" y="2884488"/>
                  <a:chExt cx="4767263" cy="5203825"/>
                </a:xfrm>
                <a:solidFill>
                  <a:schemeClr val="bg1"/>
                </a:solidFill>
              </p:grpSpPr>
              <p:sp>
                <p:nvSpPr>
                  <p:cNvPr id="40" name="Freeform 58">
                    <a:extLst>
                      <a:ext uri="{FF2B5EF4-FFF2-40B4-BE49-F238E27FC236}">
                        <a16:creationId xmlns:a16="http://schemas.microsoft.com/office/drawing/2014/main" id="{71FC338D-6650-F185-438C-DAFAB678FAB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0285413" y="2884488"/>
                    <a:ext cx="4767263" cy="5203825"/>
                  </a:xfrm>
                  <a:custGeom>
                    <a:avLst/>
                    <a:gdLst>
                      <a:gd name="T0" fmla="*/ 205 w 6006"/>
                      <a:gd name="T1" fmla="*/ 4918 h 6556"/>
                      <a:gd name="T2" fmla="*/ 205 w 6006"/>
                      <a:gd name="T3" fmla="*/ 5258 h 6556"/>
                      <a:gd name="T4" fmla="*/ 1775 w 6006"/>
                      <a:gd name="T5" fmla="*/ 5258 h 6556"/>
                      <a:gd name="T6" fmla="*/ 1775 w 6006"/>
                      <a:gd name="T7" fmla="*/ 4918 h 6556"/>
                      <a:gd name="T8" fmla="*/ 205 w 6006"/>
                      <a:gd name="T9" fmla="*/ 4918 h 6556"/>
                      <a:gd name="T10" fmla="*/ 1980 w 6006"/>
                      <a:gd name="T11" fmla="*/ 3688 h 6556"/>
                      <a:gd name="T12" fmla="*/ 1980 w 6006"/>
                      <a:gd name="T13" fmla="*/ 4029 h 6556"/>
                      <a:gd name="T14" fmla="*/ 3548 w 6006"/>
                      <a:gd name="T15" fmla="*/ 4029 h 6556"/>
                      <a:gd name="T16" fmla="*/ 3548 w 6006"/>
                      <a:gd name="T17" fmla="*/ 3688 h 6556"/>
                      <a:gd name="T18" fmla="*/ 1980 w 6006"/>
                      <a:gd name="T19" fmla="*/ 3688 h 6556"/>
                      <a:gd name="T20" fmla="*/ 3753 w 6006"/>
                      <a:gd name="T21" fmla="*/ 3006 h 6556"/>
                      <a:gd name="T22" fmla="*/ 3753 w 6006"/>
                      <a:gd name="T23" fmla="*/ 4951 h 6556"/>
                      <a:gd name="T24" fmla="*/ 3548 w 6006"/>
                      <a:gd name="T25" fmla="*/ 4951 h 6556"/>
                      <a:gd name="T26" fmla="*/ 3548 w 6006"/>
                      <a:gd name="T27" fmla="*/ 4234 h 6556"/>
                      <a:gd name="T28" fmla="*/ 1980 w 6006"/>
                      <a:gd name="T29" fmla="*/ 4234 h 6556"/>
                      <a:gd name="T30" fmla="*/ 1980 w 6006"/>
                      <a:gd name="T31" fmla="*/ 5908 h 6556"/>
                      <a:gd name="T32" fmla="*/ 1775 w 6006"/>
                      <a:gd name="T33" fmla="*/ 5908 h 6556"/>
                      <a:gd name="T34" fmla="*/ 1775 w 6006"/>
                      <a:gd name="T35" fmla="*/ 5464 h 6556"/>
                      <a:gd name="T36" fmla="*/ 205 w 6006"/>
                      <a:gd name="T37" fmla="*/ 5464 h 6556"/>
                      <a:gd name="T38" fmla="*/ 205 w 6006"/>
                      <a:gd name="T39" fmla="*/ 6351 h 6556"/>
                      <a:gd name="T40" fmla="*/ 5323 w 6006"/>
                      <a:gd name="T41" fmla="*/ 6351 h 6556"/>
                      <a:gd name="T42" fmla="*/ 5323 w 6006"/>
                      <a:gd name="T43" fmla="*/ 3006 h 6556"/>
                      <a:gd name="T44" fmla="*/ 3753 w 6006"/>
                      <a:gd name="T45" fmla="*/ 3006 h 6556"/>
                      <a:gd name="T46" fmla="*/ 3753 w 6006"/>
                      <a:gd name="T47" fmla="*/ 2460 h 6556"/>
                      <a:gd name="T48" fmla="*/ 3753 w 6006"/>
                      <a:gd name="T49" fmla="*/ 2801 h 6556"/>
                      <a:gd name="T50" fmla="*/ 5323 w 6006"/>
                      <a:gd name="T51" fmla="*/ 2801 h 6556"/>
                      <a:gd name="T52" fmla="*/ 5323 w 6006"/>
                      <a:gd name="T53" fmla="*/ 2460 h 6556"/>
                      <a:gd name="T54" fmla="*/ 3753 w 6006"/>
                      <a:gd name="T55" fmla="*/ 2460 h 6556"/>
                      <a:gd name="T56" fmla="*/ 4163 w 6006"/>
                      <a:gd name="T57" fmla="*/ 205 h 6556"/>
                      <a:gd name="T58" fmla="*/ 4163 w 6006"/>
                      <a:gd name="T59" fmla="*/ 1230 h 6556"/>
                      <a:gd name="T60" fmla="*/ 5801 w 6006"/>
                      <a:gd name="T61" fmla="*/ 1230 h 6556"/>
                      <a:gd name="T62" fmla="*/ 5801 w 6006"/>
                      <a:gd name="T63" fmla="*/ 205 h 6556"/>
                      <a:gd name="T64" fmla="*/ 4163 w 6006"/>
                      <a:gd name="T65" fmla="*/ 205 h 6556"/>
                      <a:gd name="T66" fmla="*/ 3958 w 6006"/>
                      <a:gd name="T67" fmla="*/ 0 h 6556"/>
                      <a:gd name="T68" fmla="*/ 6006 w 6006"/>
                      <a:gd name="T69" fmla="*/ 0 h 6556"/>
                      <a:gd name="T70" fmla="*/ 6006 w 6006"/>
                      <a:gd name="T71" fmla="*/ 1435 h 6556"/>
                      <a:gd name="T72" fmla="*/ 4163 w 6006"/>
                      <a:gd name="T73" fmla="*/ 1435 h 6556"/>
                      <a:gd name="T74" fmla="*/ 4163 w 6006"/>
                      <a:gd name="T75" fmla="*/ 2254 h 6556"/>
                      <a:gd name="T76" fmla="*/ 5528 w 6006"/>
                      <a:gd name="T77" fmla="*/ 2254 h 6556"/>
                      <a:gd name="T78" fmla="*/ 5528 w 6006"/>
                      <a:gd name="T79" fmla="*/ 6556 h 6556"/>
                      <a:gd name="T80" fmla="*/ 0 w 6006"/>
                      <a:gd name="T81" fmla="*/ 6556 h 6556"/>
                      <a:gd name="T82" fmla="*/ 0 w 6006"/>
                      <a:gd name="T83" fmla="*/ 4712 h 6556"/>
                      <a:gd name="T84" fmla="*/ 1775 w 6006"/>
                      <a:gd name="T85" fmla="*/ 4712 h 6556"/>
                      <a:gd name="T86" fmla="*/ 1775 w 6006"/>
                      <a:gd name="T87" fmla="*/ 3482 h 6556"/>
                      <a:gd name="T88" fmla="*/ 3548 w 6006"/>
                      <a:gd name="T89" fmla="*/ 3482 h 6556"/>
                      <a:gd name="T90" fmla="*/ 3548 w 6006"/>
                      <a:gd name="T91" fmla="*/ 2254 h 6556"/>
                      <a:gd name="T92" fmla="*/ 3958 w 6006"/>
                      <a:gd name="T93" fmla="*/ 2254 h 6556"/>
                      <a:gd name="T94" fmla="*/ 3958 w 6006"/>
                      <a:gd name="T95" fmla="*/ 0 h 65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6006" h="6556">
                        <a:moveTo>
                          <a:pt x="205" y="4918"/>
                        </a:moveTo>
                        <a:lnTo>
                          <a:pt x="205" y="5258"/>
                        </a:lnTo>
                        <a:lnTo>
                          <a:pt x="1775" y="5258"/>
                        </a:lnTo>
                        <a:lnTo>
                          <a:pt x="1775" y="4918"/>
                        </a:lnTo>
                        <a:lnTo>
                          <a:pt x="205" y="4918"/>
                        </a:lnTo>
                        <a:close/>
                        <a:moveTo>
                          <a:pt x="1980" y="3688"/>
                        </a:moveTo>
                        <a:lnTo>
                          <a:pt x="1980" y="4029"/>
                        </a:lnTo>
                        <a:lnTo>
                          <a:pt x="3548" y="4029"/>
                        </a:lnTo>
                        <a:lnTo>
                          <a:pt x="3548" y="3688"/>
                        </a:lnTo>
                        <a:lnTo>
                          <a:pt x="1980" y="3688"/>
                        </a:lnTo>
                        <a:close/>
                        <a:moveTo>
                          <a:pt x="3753" y="3006"/>
                        </a:moveTo>
                        <a:lnTo>
                          <a:pt x="3753" y="4951"/>
                        </a:lnTo>
                        <a:lnTo>
                          <a:pt x="3548" y="4951"/>
                        </a:lnTo>
                        <a:lnTo>
                          <a:pt x="3548" y="4234"/>
                        </a:lnTo>
                        <a:lnTo>
                          <a:pt x="1980" y="4234"/>
                        </a:lnTo>
                        <a:lnTo>
                          <a:pt x="1980" y="5908"/>
                        </a:lnTo>
                        <a:lnTo>
                          <a:pt x="1775" y="5908"/>
                        </a:lnTo>
                        <a:lnTo>
                          <a:pt x="1775" y="5464"/>
                        </a:lnTo>
                        <a:lnTo>
                          <a:pt x="205" y="5464"/>
                        </a:lnTo>
                        <a:lnTo>
                          <a:pt x="205" y="6351"/>
                        </a:lnTo>
                        <a:lnTo>
                          <a:pt x="5323" y="6351"/>
                        </a:lnTo>
                        <a:lnTo>
                          <a:pt x="5323" y="3006"/>
                        </a:lnTo>
                        <a:lnTo>
                          <a:pt x="3753" y="3006"/>
                        </a:lnTo>
                        <a:close/>
                        <a:moveTo>
                          <a:pt x="3753" y="2460"/>
                        </a:moveTo>
                        <a:lnTo>
                          <a:pt x="3753" y="2801"/>
                        </a:lnTo>
                        <a:lnTo>
                          <a:pt x="5323" y="2801"/>
                        </a:lnTo>
                        <a:lnTo>
                          <a:pt x="5323" y="2460"/>
                        </a:lnTo>
                        <a:lnTo>
                          <a:pt x="3753" y="2460"/>
                        </a:lnTo>
                        <a:close/>
                        <a:moveTo>
                          <a:pt x="4163" y="205"/>
                        </a:moveTo>
                        <a:lnTo>
                          <a:pt x="4163" y="1230"/>
                        </a:lnTo>
                        <a:lnTo>
                          <a:pt x="5801" y="1230"/>
                        </a:lnTo>
                        <a:lnTo>
                          <a:pt x="5801" y="205"/>
                        </a:lnTo>
                        <a:lnTo>
                          <a:pt x="4163" y="205"/>
                        </a:lnTo>
                        <a:close/>
                        <a:moveTo>
                          <a:pt x="3958" y="0"/>
                        </a:moveTo>
                        <a:lnTo>
                          <a:pt x="6006" y="0"/>
                        </a:lnTo>
                        <a:lnTo>
                          <a:pt x="6006" y="1435"/>
                        </a:lnTo>
                        <a:lnTo>
                          <a:pt x="4163" y="1435"/>
                        </a:lnTo>
                        <a:lnTo>
                          <a:pt x="4163" y="2254"/>
                        </a:lnTo>
                        <a:lnTo>
                          <a:pt x="5528" y="2254"/>
                        </a:lnTo>
                        <a:lnTo>
                          <a:pt x="5528" y="6556"/>
                        </a:lnTo>
                        <a:lnTo>
                          <a:pt x="0" y="6556"/>
                        </a:lnTo>
                        <a:lnTo>
                          <a:pt x="0" y="4712"/>
                        </a:lnTo>
                        <a:lnTo>
                          <a:pt x="1775" y="4712"/>
                        </a:lnTo>
                        <a:lnTo>
                          <a:pt x="1775" y="3482"/>
                        </a:lnTo>
                        <a:lnTo>
                          <a:pt x="3548" y="3482"/>
                        </a:lnTo>
                        <a:lnTo>
                          <a:pt x="3548" y="2254"/>
                        </a:lnTo>
                        <a:lnTo>
                          <a:pt x="3958" y="2254"/>
                        </a:lnTo>
                        <a:lnTo>
                          <a:pt x="3958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1" name="Rectangle 59">
                    <a:extLst>
                      <a:ext uri="{FF2B5EF4-FFF2-40B4-BE49-F238E27FC236}">
                        <a16:creationId xmlns:a16="http://schemas.microsoft.com/office/drawing/2014/main" id="{4E8BFD86-4C84-E07D-DD61-C3A645655C0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266863" y="3209926"/>
                    <a:ext cx="379413" cy="163513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2" name="Rectangle 60">
                    <a:extLst>
                      <a:ext uri="{FF2B5EF4-FFF2-40B4-BE49-F238E27FC236}">
                        <a16:creationId xmlns:a16="http://schemas.microsoft.com/office/drawing/2014/main" id="{83CD87D9-F89B-6F7D-2685-22D1E77EBC5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833476" y="3535363"/>
                    <a:ext cx="812800" cy="161925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3" name="Freeform 61">
                    <a:extLst>
                      <a:ext uri="{FF2B5EF4-FFF2-40B4-BE49-F238E27FC236}">
                        <a16:creationId xmlns:a16="http://schemas.microsoft.com/office/drawing/2014/main" id="{63581AF9-FF7B-3043-6D6A-1B331090F9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472738" y="3481388"/>
                    <a:ext cx="2305050" cy="2306638"/>
                  </a:xfrm>
                  <a:custGeom>
                    <a:avLst/>
                    <a:gdLst>
                      <a:gd name="T0" fmla="*/ 1982 w 2904"/>
                      <a:gd name="T1" fmla="*/ 0 h 2907"/>
                      <a:gd name="T2" fmla="*/ 2904 w 2904"/>
                      <a:gd name="T3" fmla="*/ 0 h 2907"/>
                      <a:gd name="T4" fmla="*/ 2904 w 2904"/>
                      <a:gd name="T5" fmla="*/ 786 h 2907"/>
                      <a:gd name="T6" fmla="*/ 2699 w 2904"/>
                      <a:gd name="T7" fmla="*/ 786 h 2907"/>
                      <a:gd name="T8" fmla="*/ 2699 w 2904"/>
                      <a:gd name="T9" fmla="*/ 349 h 2907"/>
                      <a:gd name="T10" fmla="*/ 145 w 2904"/>
                      <a:gd name="T11" fmla="*/ 2907 h 2907"/>
                      <a:gd name="T12" fmla="*/ 0 w 2904"/>
                      <a:gd name="T13" fmla="*/ 2761 h 2907"/>
                      <a:gd name="T14" fmla="*/ 2554 w 2904"/>
                      <a:gd name="T15" fmla="*/ 206 h 2907"/>
                      <a:gd name="T16" fmla="*/ 1982 w 2904"/>
                      <a:gd name="T17" fmla="*/ 206 h 2907"/>
                      <a:gd name="T18" fmla="*/ 1982 w 2904"/>
                      <a:gd name="T19" fmla="*/ 0 h 29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904" h="2907">
                        <a:moveTo>
                          <a:pt x="1982" y="0"/>
                        </a:moveTo>
                        <a:lnTo>
                          <a:pt x="2904" y="0"/>
                        </a:lnTo>
                        <a:lnTo>
                          <a:pt x="2904" y="786"/>
                        </a:lnTo>
                        <a:lnTo>
                          <a:pt x="2699" y="786"/>
                        </a:lnTo>
                        <a:lnTo>
                          <a:pt x="2699" y="349"/>
                        </a:lnTo>
                        <a:lnTo>
                          <a:pt x="145" y="2907"/>
                        </a:lnTo>
                        <a:lnTo>
                          <a:pt x="0" y="2761"/>
                        </a:lnTo>
                        <a:lnTo>
                          <a:pt x="2554" y="206"/>
                        </a:lnTo>
                        <a:lnTo>
                          <a:pt x="1982" y="206"/>
                        </a:lnTo>
                        <a:lnTo>
                          <a:pt x="1982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4" name="Rectangle 62">
                    <a:extLst>
                      <a:ext uri="{FF2B5EF4-FFF2-40B4-BE49-F238E27FC236}">
                        <a16:creationId xmlns:a16="http://schemas.microsoft.com/office/drawing/2014/main" id="{B1BB4CA0-E2D8-0DA4-EEFB-EAE45D3F3CA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582276" y="7385051"/>
                    <a:ext cx="219075" cy="160338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5" name="Rectangle 63">
                    <a:extLst>
                      <a:ext uri="{FF2B5EF4-FFF2-40B4-BE49-F238E27FC236}">
                        <a16:creationId xmlns:a16="http://schemas.microsoft.com/office/drawing/2014/main" id="{9B2716D5-3592-0864-ECD8-9800A37A04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341101" y="7385051"/>
                    <a:ext cx="217488" cy="160338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6" name="Rectangle 64">
                    <a:extLst>
                      <a:ext uri="{FF2B5EF4-FFF2-40B4-BE49-F238E27FC236}">
                        <a16:creationId xmlns:a16="http://schemas.microsoft.com/office/drawing/2014/main" id="{D24CEAFA-054A-5E0C-E140-AA33809381D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991976" y="6408738"/>
                    <a:ext cx="215900" cy="161925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7" name="Rectangle 65">
                    <a:extLst>
                      <a:ext uri="{FF2B5EF4-FFF2-40B4-BE49-F238E27FC236}">
                        <a16:creationId xmlns:a16="http://schemas.microsoft.com/office/drawing/2014/main" id="{3997741C-ECA0-349D-3299-A9DE16F8A0C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2750801" y="6408738"/>
                    <a:ext cx="215900" cy="161925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8" name="Rectangle 66">
                    <a:extLst>
                      <a:ext uri="{FF2B5EF4-FFF2-40B4-BE49-F238E27FC236}">
                        <a16:creationId xmlns:a16="http://schemas.microsoft.com/office/drawing/2014/main" id="{023624FF-6286-64E7-B027-689C8D440EE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400088" y="5432426"/>
                    <a:ext cx="217488" cy="161925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49" name="Rectangle 67">
                    <a:extLst>
                      <a:ext uri="{FF2B5EF4-FFF2-40B4-BE49-F238E27FC236}">
                        <a16:creationId xmlns:a16="http://schemas.microsoft.com/office/drawing/2014/main" id="{B0972ECB-85E0-6BF9-F4BD-9DC011FD0BE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157326" y="5432426"/>
                    <a:ext cx="219075" cy="161925"/>
                  </a:xfrm>
                  <a:prstGeom prst="rect">
                    <a:avLst/>
                  </a:prstGeom>
                  <a:grpFill/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18987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24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4BFE5D8-F9FB-EDA5-5389-2DD2F09FC1C7}"/>
                  </a:ext>
                </a:extLst>
              </p:cNvPr>
              <p:cNvSpPr txBox="1"/>
              <p:nvPr/>
            </p:nvSpPr>
            <p:spPr>
              <a:xfrm>
                <a:off x="1628805" y="2770236"/>
                <a:ext cx="2636902" cy="600163"/>
              </a:xfrm>
              <a:custGeom>
                <a:avLst/>
                <a:gdLst>
                  <a:gd name="connsiteX0" fmla="*/ 0 w 2185605"/>
                  <a:gd name="connsiteY0" fmla="*/ 0 h 1035249"/>
                  <a:gd name="connsiteX1" fmla="*/ 2185605 w 2185605"/>
                  <a:gd name="connsiteY1" fmla="*/ 0 h 1035249"/>
                  <a:gd name="connsiteX2" fmla="*/ 2185605 w 2185605"/>
                  <a:gd name="connsiteY2" fmla="*/ 1035249 h 1035249"/>
                  <a:gd name="connsiteX3" fmla="*/ 0 w 2185605"/>
                  <a:gd name="connsiteY3" fmla="*/ 1035249 h 1035249"/>
                  <a:gd name="connsiteX4" fmla="*/ 0 w 2185605"/>
                  <a:gd name="connsiteY4" fmla="*/ 0 h 1035249"/>
                  <a:gd name="connsiteX0" fmla="*/ 0 w 2185605"/>
                  <a:gd name="connsiteY0" fmla="*/ 0 h 1035249"/>
                  <a:gd name="connsiteX1" fmla="*/ 2185605 w 2185605"/>
                  <a:gd name="connsiteY1" fmla="*/ 0 h 1035249"/>
                  <a:gd name="connsiteX2" fmla="*/ 1983474 w 2185605"/>
                  <a:gd name="connsiteY2" fmla="*/ 717615 h 1035249"/>
                  <a:gd name="connsiteX3" fmla="*/ 0 w 2185605"/>
                  <a:gd name="connsiteY3" fmla="*/ 1035249 h 1035249"/>
                  <a:gd name="connsiteX4" fmla="*/ 0 w 2185605"/>
                  <a:gd name="connsiteY4" fmla="*/ 0 h 1035249"/>
                  <a:gd name="connsiteX0" fmla="*/ 0 w 2185605"/>
                  <a:gd name="connsiteY0" fmla="*/ 0 h 717615"/>
                  <a:gd name="connsiteX1" fmla="*/ 2185605 w 2185605"/>
                  <a:gd name="connsiteY1" fmla="*/ 0 h 717615"/>
                  <a:gd name="connsiteX2" fmla="*/ 1983474 w 2185605"/>
                  <a:gd name="connsiteY2" fmla="*/ 717615 h 717615"/>
                  <a:gd name="connsiteX3" fmla="*/ 57751 w 2185605"/>
                  <a:gd name="connsiteY3" fmla="*/ 669489 h 717615"/>
                  <a:gd name="connsiteX4" fmla="*/ 0 w 2185605"/>
                  <a:gd name="connsiteY4" fmla="*/ 0 h 717615"/>
                  <a:gd name="connsiteX0" fmla="*/ 0 w 2185605"/>
                  <a:gd name="connsiteY0" fmla="*/ 0 h 669489"/>
                  <a:gd name="connsiteX1" fmla="*/ 2185605 w 2185605"/>
                  <a:gd name="connsiteY1" fmla="*/ 0 h 669489"/>
                  <a:gd name="connsiteX2" fmla="*/ 2070101 w 2185605"/>
                  <a:gd name="connsiteY2" fmla="*/ 592487 h 669489"/>
                  <a:gd name="connsiteX3" fmla="*/ 57751 w 2185605"/>
                  <a:gd name="connsiteY3" fmla="*/ 669489 h 669489"/>
                  <a:gd name="connsiteX4" fmla="*/ 0 w 2185605"/>
                  <a:gd name="connsiteY4" fmla="*/ 0 h 669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5605" h="669489">
                    <a:moveTo>
                      <a:pt x="0" y="0"/>
                    </a:moveTo>
                    <a:lnTo>
                      <a:pt x="2185605" y="0"/>
                    </a:lnTo>
                    <a:lnTo>
                      <a:pt x="2070101" y="592487"/>
                    </a:lnTo>
                    <a:lnTo>
                      <a:pt x="57751" y="66948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87"/>
                <a:r>
                  <a:rPr lang="en-GB" sz="1100" b="1" dirty="0">
                    <a:latin typeface="Montserrat" panose="00000500000000000000" pitchFamily="50" charset="0"/>
                    <a:cs typeface="Arial" pitchFamily="34" charset="0"/>
                  </a:rPr>
                  <a:t>PMO </a:t>
                </a:r>
              </a:p>
              <a:p>
                <a:pPr algn="ctr" defTabSz="1218987"/>
                <a:r>
                  <a:rPr lang="en-GB" sz="1100" b="1" dirty="0">
                    <a:latin typeface="Montserrat" panose="00000500000000000000" pitchFamily="50" charset="0"/>
                    <a:cs typeface="Arial" pitchFamily="34" charset="0"/>
                  </a:rPr>
                  <a:t>&amp; </a:t>
                </a:r>
              </a:p>
              <a:p>
                <a:pPr algn="ctr" defTabSz="1218987"/>
                <a:r>
                  <a:rPr lang="en-GB" sz="1100" b="1" dirty="0">
                    <a:latin typeface="Montserrat" panose="00000500000000000000" pitchFamily="50" charset="0"/>
                    <a:cs typeface="Arial" pitchFamily="34" charset="0"/>
                  </a:rPr>
                  <a:t>Compliance Services</a:t>
                </a:r>
                <a:endParaRPr lang="en-IN" sz="1100" b="1" dirty="0">
                  <a:latin typeface="Montserrat" panose="00000500000000000000" pitchFamily="50" charset="0"/>
                  <a:cs typeface="Arial" pitchFamily="34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C54A668-3B83-1215-020A-A154A9EFC9F0}"/>
                </a:ext>
              </a:extLst>
            </p:cNvPr>
            <p:cNvGrpSpPr/>
            <p:nvPr/>
          </p:nvGrpSpPr>
          <p:grpSpPr>
            <a:xfrm>
              <a:off x="4717683" y="5201265"/>
              <a:ext cx="1125725" cy="1099203"/>
              <a:chOff x="4064024" y="5652669"/>
              <a:chExt cx="1082461" cy="1083596"/>
            </a:xfrm>
          </p:grpSpPr>
          <p:sp>
            <p:nvSpPr>
              <p:cNvPr id="31" name="Freeform 17">
                <a:extLst>
                  <a:ext uri="{FF2B5EF4-FFF2-40B4-BE49-F238E27FC236}">
                    <a16:creationId xmlns:a16="http://schemas.microsoft.com/office/drawing/2014/main" id="{DF01EF0D-67E0-A501-4DD1-769E5A89E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24" y="5652669"/>
                <a:ext cx="1082461" cy="1083596"/>
              </a:xfrm>
              <a:custGeom>
                <a:avLst/>
                <a:gdLst>
                  <a:gd name="T0" fmla="*/ 482 w 953"/>
                  <a:gd name="T1" fmla="*/ 0 h 954"/>
                  <a:gd name="T2" fmla="*/ 543 w 953"/>
                  <a:gd name="T3" fmla="*/ 4 h 954"/>
                  <a:gd name="T4" fmla="*/ 600 w 953"/>
                  <a:gd name="T5" fmla="*/ 15 h 954"/>
                  <a:gd name="T6" fmla="*/ 654 w 953"/>
                  <a:gd name="T7" fmla="*/ 34 h 954"/>
                  <a:gd name="T8" fmla="*/ 706 w 953"/>
                  <a:gd name="T9" fmla="*/ 59 h 954"/>
                  <a:gd name="T10" fmla="*/ 753 w 953"/>
                  <a:gd name="T11" fmla="*/ 89 h 954"/>
                  <a:gd name="T12" fmla="*/ 798 w 953"/>
                  <a:gd name="T13" fmla="*/ 124 h 954"/>
                  <a:gd name="T14" fmla="*/ 837 w 953"/>
                  <a:gd name="T15" fmla="*/ 165 h 954"/>
                  <a:gd name="T16" fmla="*/ 871 w 953"/>
                  <a:gd name="T17" fmla="*/ 209 h 954"/>
                  <a:gd name="T18" fmla="*/ 900 w 953"/>
                  <a:gd name="T19" fmla="*/ 258 h 954"/>
                  <a:gd name="T20" fmla="*/ 923 w 953"/>
                  <a:gd name="T21" fmla="*/ 310 h 954"/>
                  <a:gd name="T22" fmla="*/ 940 w 953"/>
                  <a:gd name="T23" fmla="*/ 365 h 954"/>
                  <a:gd name="T24" fmla="*/ 951 w 953"/>
                  <a:gd name="T25" fmla="*/ 423 h 954"/>
                  <a:gd name="T26" fmla="*/ 953 w 953"/>
                  <a:gd name="T27" fmla="*/ 483 h 954"/>
                  <a:gd name="T28" fmla="*/ 950 w 953"/>
                  <a:gd name="T29" fmla="*/ 543 h 954"/>
                  <a:gd name="T30" fmla="*/ 938 w 953"/>
                  <a:gd name="T31" fmla="*/ 599 h 954"/>
                  <a:gd name="T32" fmla="*/ 919 w 953"/>
                  <a:gd name="T33" fmla="*/ 654 h 954"/>
                  <a:gd name="T34" fmla="*/ 895 w 953"/>
                  <a:gd name="T35" fmla="*/ 707 h 954"/>
                  <a:gd name="T36" fmla="*/ 864 w 953"/>
                  <a:gd name="T37" fmla="*/ 754 h 954"/>
                  <a:gd name="T38" fmla="*/ 829 w 953"/>
                  <a:gd name="T39" fmla="*/ 798 h 954"/>
                  <a:gd name="T40" fmla="*/ 789 w 953"/>
                  <a:gd name="T41" fmla="*/ 837 h 954"/>
                  <a:gd name="T42" fmla="*/ 744 w 953"/>
                  <a:gd name="T43" fmla="*/ 872 h 954"/>
                  <a:gd name="T44" fmla="*/ 696 w 953"/>
                  <a:gd name="T45" fmla="*/ 900 h 954"/>
                  <a:gd name="T46" fmla="*/ 643 w 953"/>
                  <a:gd name="T47" fmla="*/ 924 h 954"/>
                  <a:gd name="T48" fmla="*/ 588 w 953"/>
                  <a:gd name="T49" fmla="*/ 941 h 954"/>
                  <a:gd name="T50" fmla="*/ 531 w 953"/>
                  <a:gd name="T51" fmla="*/ 951 h 954"/>
                  <a:gd name="T52" fmla="*/ 471 w 953"/>
                  <a:gd name="T53" fmla="*/ 954 h 954"/>
                  <a:gd name="T54" fmla="*/ 410 w 953"/>
                  <a:gd name="T55" fmla="*/ 950 h 954"/>
                  <a:gd name="T56" fmla="*/ 353 w 953"/>
                  <a:gd name="T57" fmla="*/ 938 h 954"/>
                  <a:gd name="T58" fmla="*/ 298 w 953"/>
                  <a:gd name="T59" fmla="*/ 920 h 954"/>
                  <a:gd name="T60" fmla="*/ 247 w 953"/>
                  <a:gd name="T61" fmla="*/ 895 h 954"/>
                  <a:gd name="T62" fmla="*/ 199 w 953"/>
                  <a:gd name="T63" fmla="*/ 865 h 954"/>
                  <a:gd name="T64" fmla="*/ 155 w 953"/>
                  <a:gd name="T65" fmla="*/ 830 h 954"/>
                  <a:gd name="T66" fmla="*/ 116 w 953"/>
                  <a:gd name="T67" fmla="*/ 789 h 954"/>
                  <a:gd name="T68" fmla="*/ 82 w 953"/>
                  <a:gd name="T69" fmla="*/ 745 h 954"/>
                  <a:gd name="T70" fmla="*/ 52 w 953"/>
                  <a:gd name="T71" fmla="*/ 696 h 954"/>
                  <a:gd name="T72" fmla="*/ 30 w 953"/>
                  <a:gd name="T73" fmla="*/ 644 h 954"/>
                  <a:gd name="T74" fmla="*/ 13 w 953"/>
                  <a:gd name="T75" fmla="*/ 589 h 954"/>
                  <a:gd name="T76" fmla="*/ 2 w 953"/>
                  <a:gd name="T77" fmla="*/ 531 h 954"/>
                  <a:gd name="T78" fmla="*/ 0 w 953"/>
                  <a:gd name="T79" fmla="*/ 471 h 954"/>
                  <a:gd name="T80" fmla="*/ 4 w 953"/>
                  <a:gd name="T81" fmla="*/ 411 h 954"/>
                  <a:gd name="T82" fmla="*/ 15 w 953"/>
                  <a:gd name="T83" fmla="*/ 353 h 954"/>
                  <a:gd name="T84" fmla="*/ 34 w 953"/>
                  <a:gd name="T85" fmla="*/ 298 h 954"/>
                  <a:gd name="T86" fmla="*/ 59 w 953"/>
                  <a:gd name="T87" fmla="*/ 247 h 954"/>
                  <a:gd name="T88" fmla="*/ 89 w 953"/>
                  <a:gd name="T89" fmla="*/ 199 h 954"/>
                  <a:gd name="T90" fmla="*/ 124 w 953"/>
                  <a:gd name="T91" fmla="*/ 155 h 954"/>
                  <a:gd name="T92" fmla="*/ 165 w 953"/>
                  <a:gd name="T93" fmla="*/ 116 h 954"/>
                  <a:gd name="T94" fmla="*/ 209 w 953"/>
                  <a:gd name="T95" fmla="*/ 81 h 954"/>
                  <a:gd name="T96" fmla="*/ 257 w 953"/>
                  <a:gd name="T97" fmla="*/ 52 h 954"/>
                  <a:gd name="T98" fmla="*/ 310 w 953"/>
                  <a:gd name="T99" fmla="*/ 30 h 954"/>
                  <a:gd name="T100" fmla="*/ 365 w 953"/>
                  <a:gd name="T101" fmla="*/ 13 h 954"/>
                  <a:gd name="T102" fmla="*/ 422 w 953"/>
                  <a:gd name="T103" fmla="*/ 2 h 954"/>
                  <a:gd name="T104" fmla="*/ 482 w 953"/>
                  <a:gd name="T105" fmla="*/ 0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53" h="954">
                    <a:moveTo>
                      <a:pt x="482" y="0"/>
                    </a:moveTo>
                    <a:lnTo>
                      <a:pt x="543" y="4"/>
                    </a:lnTo>
                    <a:lnTo>
                      <a:pt x="600" y="15"/>
                    </a:lnTo>
                    <a:lnTo>
                      <a:pt x="654" y="34"/>
                    </a:lnTo>
                    <a:lnTo>
                      <a:pt x="706" y="59"/>
                    </a:lnTo>
                    <a:lnTo>
                      <a:pt x="753" y="89"/>
                    </a:lnTo>
                    <a:lnTo>
                      <a:pt x="798" y="124"/>
                    </a:lnTo>
                    <a:lnTo>
                      <a:pt x="837" y="165"/>
                    </a:lnTo>
                    <a:lnTo>
                      <a:pt x="871" y="209"/>
                    </a:lnTo>
                    <a:lnTo>
                      <a:pt x="900" y="258"/>
                    </a:lnTo>
                    <a:lnTo>
                      <a:pt x="923" y="310"/>
                    </a:lnTo>
                    <a:lnTo>
                      <a:pt x="940" y="365"/>
                    </a:lnTo>
                    <a:lnTo>
                      <a:pt x="951" y="423"/>
                    </a:lnTo>
                    <a:lnTo>
                      <a:pt x="953" y="483"/>
                    </a:lnTo>
                    <a:lnTo>
                      <a:pt x="950" y="543"/>
                    </a:lnTo>
                    <a:lnTo>
                      <a:pt x="938" y="599"/>
                    </a:lnTo>
                    <a:lnTo>
                      <a:pt x="919" y="654"/>
                    </a:lnTo>
                    <a:lnTo>
                      <a:pt x="895" y="707"/>
                    </a:lnTo>
                    <a:lnTo>
                      <a:pt x="864" y="754"/>
                    </a:lnTo>
                    <a:lnTo>
                      <a:pt x="829" y="798"/>
                    </a:lnTo>
                    <a:lnTo>
                      <a:pt x="789" y="837"/>
                    </a:lnTo>
                    <a:lnTo>
                      <a:pt x="744" y="872"/>
                    </a:lnTo>
                    <a:lnTo>
                      <a:pt x="696" y="900"/>
                    </a:lnTo>
                    <a:lnTo>
                      <a:pt x="643" y="924"/>
                    </a:lnTo>
                    <a:lnTo>
                      <a:pt x="588" y="941"/>
                    </a:lnTo>
                    <a:lnTo>
                      <a:pt x="531" y="951"/>
                    </a:lnTo>
                    <a:lnTo>
                      <a:pt x="471" y="954"/>
                    </a:lnTo>
                    <a:lnTo>
                      <a:pt x="410" y="950"/>
                    </a:lnTo>
                    <a:lnTo>
                      <a:pt x="353" y="938"/>
                    </a:lnTo>
                    <a:lnTo>
                      <a:pt x="298" y="920"/>
                    </a:lnTo>
                    <a:lnTo>
                      <a:pt x="247" y="895"/>
                    </a:lnTo>
                    <a:lnTo>
                      <a:pt x="199" y="865"/>
                    </a:lnTo>
                    <a:lnTo>
                      <a:pt x="155" y="830"/>
                    </a:lnTo>
                    <a:lnTo>
                      <a:pt x="116" y="789"/>
                    </a:lnTo>
                    <a:lnTo>
                      <a:pt x="82" y="745"/>
                    </a:lnTo>
                    <a:lnTo>
                      <a:pt x="52" y="696"/>
                    </a:lnTo>
                    <a:lnTo>
                      <a:pt x="30" y="644"/>
                    </a:lnTo>
                    <a:lnTo>
                      <a:pt x="13" y="589"/>
                    </a:lnTo>
                    <a:lnTo>
                      <a:pt x="2" y="531"/>
                    </a:lnTo>
                    <a:lnTo>
                      <a:pt x="0" y="471"/>
                    </a:lnTo>
                    <a:lnTo>
                      <a:pt x="4" y="411"/>
                    </a:lnTo>
                    <a:lnTo>
                      <a:pt x="15" y="353"/>
                    </a:lnTo>
                    <a:lnTo>
                      <a:pt x="34" y="298"/>
                    </a:lnTo>
                    <a:lnTo>
                      <a:pt x="59" y="247"/>
                    </a:lnTo>
                    <a:lnTo>
                      <a:pt x="89" y="199"/>
                    </a:lnTo>
                    <a:lnTo>
                      <a:pt x="124" y="155"/>
                    </a:lnTo>
                    <a:lnTo>
                      <a:pt x="165" y="116"/>
                    </a:lnTo>
                    <a:lnTo>
                      <a:pt x="209" y="81"/>
                    </a:lnTo>
                    <a:lnTo>
                      <a:pt x="257" y="52"/>
                    </a:lnTo>
                    <a:lnTo>
                      <a:pt x="310" y="30"/>
                    </a:lnTo>
                    <a:lnTo>
                      <a:pt x="365" y="13"/>
                    </a:lnTo>
                    <a:lnTo>
                      <a:pt x="422" y="2"/>
                    </a:lnTo>
                    <a:lnTo>
                      <a:pt x="482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880AF4A-2612-44FF-8344-6FEF2236F794}"/>
                  </a:ext>
                </a:extLst>
              </p:cNvPr>
              <p:cNvGrpSpPr/>
              <p:nvPr/>
            </p:nvGrpSpPr>
            <p:grpSpPr>
              <a:xfrm>
                <a:off x="4336129" y="5939486"/>
                <a:ext cx="529715" cy="526678"/>
                <a:chOff x="-1419225" y="1751013"/>
                <a:chExt cx="3598863" cy="3578225"/>
              </a:xfrm>
              <a:solidFill>
                <a:schemeClr val="bg1"/>
              </a:solidFill>
            </p:grpSpPr>
            <p:sp>
              <p:nvSpPr>
                <p:cNvPr id="33" name="Freeform 72">
                  <a:extLst>
                    <a:ext uri="{FF2B5EF4-FFF2-40B4-BE49-F238E27FC236}">
                      <a16:creationId xmlns:a16="http://schemas.microsoft.com/office/drawing/2014/main" id="{39F62F82-CD2D-5A10-90D0-4DB92889C7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54038" y="2611438"/>
                  <a:ext cx="1866900" cy="1855788"/>
                </a:xfrm>
                <a:custGeom>
                  <a:avLst/>
                  <a:gdLst>
                    <a:gd name="T0" fmla="*/ 995 w 2351"/>
                    <a:gd name="T1" fmla="*/ 184 h 2338"/>
                    <a:gd name="T2" fmla="*/ 744 w 2351"/>
                    <a:gd name="T3" fmla="*/ 265 h 2338"/>
                    <a:gd name="T4" fmla="*/ 527 w 2351"/>
                    <a:gd name="T5" fmla="*/ 403 h 2338"/>
                    <a:gd name="T6" fmla="*/ 354 w 2351"/>
                    <a:gd name="T7" fmla="*/ 592 h 2338"/>
                    <a:gd name="T8" fmla="*/ 232 w 2351"/>
                    <a:gd name="T9" fmla="*/ 820 h 2338"/>
                    <a:gd name="T10" fmla="*/ 173 w 2351"/>
                    <a:gd name="T11" fmla="*/ 1079 h 2338"/>
                    <a:gd name="T12" fmla="*/ 185 w 2351"/>
                    <a:gd name="T13" fmla="*/ 1349 h 2338"/>
                    <a:gd name="T14" fmla="*/ 266 w 2351"/>
                    <a:gd name="T15" fmla="*/ 1598 h 2338"/>
                    <a:gd name="T16" fmla="*/ 405 w 2351"/>
                    <a:gd name="T17" fmla="*/ 1815 h 2338"/>
                    <a:gd name="T18" fmla="*/ 596 w 2351"/>
                    <a:gd name="T19" fmla="*/ 1988 h 2338"/>
                    <a:gd name="T20" fmla="*/ 825 w 2351"/>
                    <a:gd name="T21" fmla="*/ 2109 h 2338"/>
                    <a:gd name="T22" fmla="*/ 1085 w 2351"/>
                    <a:gd name="T23" fmla="*/ 2168 h 2338"/>
                    <a:gd name="T24" fmla="*/ 1357 w 2351"/>
                    <a:gd name="T25" fmla="*/ 2155 h 2338"/>
                    <a:gd name="T26" fmla="*/ 1607 w 2351"/>
                    <a:gd name="T27" fmla="*/ 2075 h 2338"/>
                    <a:gd name="T28" fmla="*/ 1825 w 2351"/>
                    <a:gd name="T29" fmla="*/ 1936 h 2338"/>
                    <a:gd name="T30" fmla="*/ 1999 w 2351"/>
                    <a:gd name="T31" fmla="*/ 1746 h 2338"/>
                    <a:gd name="T32" fmla="*/ 2121 w 2351"/>
                    <a:gd name="T33" fmla="*/ 1519 h 2338"/>
                    <a:gd name="T34" fmla="*/ 2180 w 2351"/>
                    <a:gd name="T35" fmla="*/ 1261 h 2338"/>
                    <a:gd name="T36" fmla="*/ 2167 w 2351"/>
                    <a:gd name="T37" fmla="*/ 989 h 2338"/>
                    <a:gd name="T38" fmla="*/ 2087 w 2351"/>
                    <a:gd name="T39" fmla="*/ 740 h 2338"/>
                    <a:gd name="T40" fmla="*/ 1946 w 2351"/>
                    <a:gd name="T41" fmla="*/ 524 h 2338"/>
                    <a:gd name="T42" fmla="*/ 1756 w 2351"/>
                    <a:gd name="T43" fmla="*/ 352 h 2338"/>
                    <a:gd name="T44" fmla="*/ 1527 w 2351"/>
                    <a:gd name="T45" fmla="*/ 231 h 2338"/>
                    <a:gd name="T46" fmla="*/ 1268 w 2351"/>
                    <a:gd name="T47" fmla="*/ 172 h 2338"/>
                    <a:gd name="T48" fmla="*/ 1278 w 2351"/>
                    <a:gd name="T49" fmla="*/ 5 h 2338"/>
                    <a:gd name="T50" fmla="*/ 1566 w 2351"/>
                    <a:gd name="T51" fmla="*/ 67 h 2338"/>
                    <a:gd name="T52" fmla="*/ 1823 w 2351"/>
                    <a:gd name="T53" fmla="*/ 194 h 2338"/>
                    <a:gd name="T54" fmla="*/ 2039 w 2351"/>
                    <a:gd name="T55" fmla="*/ 377 h 2338"/>
                    <a:gd name="T56" fmla="*/ 2207 w 2351"/>
                    <a:gd name="T57" fmla="*/ 608 h 2338"/>
                    <a:gd name="T58" fmla="*/ 2314 w 2351"/>
                    <a:gd name="T59" fmla="*/ 875 h 2338"/>
                    <a:gd name="T60" fmla="*/ 2351 w 2351"/>
                    <a:gd name="T61" fmla="*/ 1170 h 2338"/>
                    <a:gd name="T62" fmla="*/ 2314 w 2351"/>
                    <a:gd name="T63" fmla="*/ 1465 h 2338"/>
                    <a:gd name="T64" fmla="*/ 2207 w 2351"/>
                    <a:gd name="T65" fmla="*/ 1732 h 2338"/>
                    <a:gd name="T66" fmla="*/ 2039 w 2351"/>
                    <a:gd name="T67" fmla="*/ 1961 h 2338"/>
                    <a:gd name="T68" fmla="*/ 1823 w 2351"/>
                    <a:gd name="T69" fmla="*/ 2145 h 2338"/>
                    <a:gd name="T70" fmla="*/ 1566 w 2351"/>
                    <a:gd name="T71" fmla="*/ 2273 h 2338"/>
                    <a:gd name="T72" fmla="*/ 1278 w 2351"/>
                    <a:gd name="T73" fmla="*/ 2334 h 2338"/>
                    <a:gd name="T74" fmla="*/ 976 w 2351"/>
                    <a:gd name="T75" fmla="*/ 2321 h 2338"/>
                    <a:gd name="T76" fmla="*/ 697 w 2351"/>
                    <a:gd name="T77" fmla="*/ 2237 h 2338"/>
                    <a:gd name="T78" fmla="*/ 452 w 2351"/>
                    <a:gd name="T79" fmla="*/ 2089 h 2338"/>
                    <a:gd name="T80" fmla="*/ 251 w 2351"/>
                    <a:gd name="T81" fmla="*/ 1890 h 2338"/>
                    <a:gd name="T82" fmla="*/ 103 w 2351"/>
                    <a:gd name="T83" fmla="*/ 1647 h 2338"/>
                    <a:gd name="T84" fmla="*/ 17 w 2351"/>
                    <a:gd name="T85" fmla="*/ 1369 h 2338"/>
                    <a:gd name="T86" fmla="*/ 5 w 2351"/>
                    <a:gd name="T87" fmla="*/ 1069 h 2338"/>
                    <a:gd name="T88" fmla="*/ 68 w 2351"/>
                    <a:gd name="T89" fmla="*/ 783 h 2338"/>
                    <a:gd name="T90" fmla="*/ 195 w 2351"/>
                    <a:gd name="T91" fmla="*/ 527 h 2338"/>
                    <a:gd name="T92" fmla="*/ 380 w 2351"/>
                    <a:gd name="T93" fmla="*/ 311 h 2338"/>
                    <a:gd name="T94" fmla="*/ 611 w 2351"/>
                    <a:gd name="T95" fmla="*/ 145 h 2338"/>
                    <a:gd name="T96" fmla="*/ 880 w 2351"/>
                    <a:gd name="T97" fmla="*/ 39 h 2338"/>
                    <a:gd name="T98" fmla="*/ 1177 w 2351"/>
                    <a:gd name="T99" fmla="*/ 0 h 2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51" h="2338">
                      <a:moveTo>
                        <a:pt x="1177" y="168"/>
                      </a:moveTo>
                      <a:lnTo>
                        <a:pt x="1085" y="172"/>
                      </a:lnTo>
                      <a:lnTo>
                        <a:pt x="995" y="184"/>
                      </a:lnTo>
                      <a:lnTo>
                        <a:pt x="909" y="204"/>
                      </a:lnTo>
                      <a:lnTo>
                        <a:pt x="825" y="231"/>
                      </a:lnTo>
                      <a:lnTo>
                        <a:pt x="744" y="265"/>
                      </a:lnTo>
                      <a:lnTo>
                        <a:pt x="669" y="305"/>
                      </a:lnTo>
                      <a:lnTo>
                        <a:pt x="596" y="352"/>
                      </a:lnTo>
                      <a:lnTo>
                        <a:pt x="527" y="403"/>
                      </a:lnTo>
                      <a:lnTo>
                        <a:pt x="464" y="461"/>
                      </a:lnTo>
                      <a:lnTo>
                        <a:pt x="405" y="524"/>
                      </a:lnTo>
                      <a:lnTo>
                        <a:pt x="354" y="592"/>
                      </a:lnTo>
                      <a:lnTo>
                        <a:pt x="307" y="665"/>
                      </a:lnTo>
                      <a:lnTo>
                        <a:pt x="266" y="740"/>
                      </a:lnTo>
                      <a:lnTo>
                        <a:pt x="232" y="820"/>
                      </a:lnTo>
                      <a:lnTo>
                        <a:pt x="205" y="904"/>
                      </a:lnTo>
                      <a:lnTo>
                        <a:pt x="185" y="989"/>
                      </a:lnTo>
                      <a:lnTo>
                        <a:pt x="173" y="1079"/>
                      </a:lnTo>
                      <a:lnTo>
                        <a:pt x="169" y="1170"/>
                      </a:lnTo>
                      <a:lnTo>
                        <a:pt x="173" y="1261"/>
                      </a:lnTo>
                      <a:lnTo>
                        <a:pt x="185" y="1349"/>
                      </a:lnTo>
                      <a:lnTo>
                        <a:pt x="205" y="1436"/>
                      </a:lnTo>
                      <a:lnTo>
                        <a:pt x="232" y="1519"/>
                      </a:lnTo>
                      <a:lnTo>
                        <a:pt x="266" y="1598"/>
                      </a:lnTo>
                      <a:lnTo>
                        <a:pt x="307" y="1675"/>
                      </a:lnTo>
                      <a:lnTo>
                        <a:pt x="354" y="1746"/>
                      </a:lnTo>
                      <a:lnTo>
                        <a:pt x="405" y="1815"/>
                      </a:lnTo>
                      <a:lnTo>
                        <a:pt x="464" y="1877"/>
                      </a:lnTo>
                      <a:lnTo>
                        <a:pt x="527" y="1936"/>
                      </a:lnTo>
                      <a:lnTo>
                        <a:pt x="596" y="1988"/>
                      </a:lnTo>
                      <a:lnTo>
                        <a:pt x="669" y="2034"/>
                      </a:lnTo>
                      <a:lnTo>
                        <a:pt x="744" y="2075"/>
                      </a:lnTo>
                      <a:lnTo>
                        <a:pt x="825" y="2109"/>
                      </a:lnTo>
                      <a:lnTo>
                        <a:pt x="909" y="2135"/>
                      </a:lnTo>
                      <a:lnTo>
                        <a:pt x="995" y="2155"/>
                      </a:lnTo>
                      <a:lnTo>
                        <a:pt x="1085" y="2168"/>
                      </a:lnTo>
                      <a:lnTo>
                        <a:pt x="1177" y="2172"/>
                      </a:lnTo>
                      <a:lnTo>
                        <a:pt x="1268" y="2168"/>
                      </a:lnTo>
                      <a:lnTo>
                        <a:pt x="1357" y="2155"/>
                      </a:lnTo>
                      <a:lnTo>
                        <a:pt x="1444" y="2135"/>
                      </a:lnTo>
                      <a:lnTo>
                        <a:pt x="1527" y="2109"/>
                      </a:lnTo>
                      <a:lnTo>
                        <a:pt x="1607" y="2075"/>
                      </a:lnTo>
                      <a:lnTo>
                        <a:pt x="1684" y="2034"/>
                      </a:lnTo>
                      <a:lnTo>
                        <a:pt x="1756" y="1988"/>
                      </a:lnTo>
                      <a:lnTo>
                        <a:pt x="1825" y="1936"/>
                      </a:lnTo>
                      <a:lnTo>
                        <a:pt x="1888" y="1877"/>
                      </a:lnTo>
                      <a:lnTo>
                        <a:pt x="1946" y="1815"/>
                      </a:lnTo>
                      <a:lnTo>
                        <a:pt x="1999" y="1746"/>
                      </a:lnTo>
                      <a:lnTo>
                        <a:pt x="2045" y="1675"/>
                      </a:lnTo>
                      <a:lnTo>
                        <a:pt x="2087" y="1598"/>
                      </a:lnTo>
                      <a:lnTo>
                        <a:pt x="2121" y="1519"/>
                      </a:lnTo>
                      <a:lnTo>
                        <a:pt x="2147" y="1436"/>
                      </a:lnTo>
                      <a:lnTo>
                        <a:pt x="2167" y="1349"/>
                      </a:lnTo>
                      <a:lnTo>
                        <a:pt x="2180" y="1261"/>
                      </a:lnTo>
                      <a:lnTo>
                        <a:pt x="2184" y="1170"/>
                      </a:lnTo>
                      <a:lnTo>
                        <a:pt x="2180" y="1079"/>
                      </a:lnTo>
                      <a:lnTo>
                        <a:pt x="2167" y="989"/>
                      </a:lnTo>
                      <a:lnTo>
                        <a:pt x="2147" y="904"/>
                      </a:lnTo>
                      <a:lnTo>
                        <a:pt x="2121" y="820"/>
                      </a:lnTo>
                      <a:lnTo>
                        <a:pt x="2087" y="740"/>
                      </a:lnTo>
                      <a:lnTo>
                        <a:pt x="2045" y="665"/>
                      </a:lnTo>
                      <a:lnTo>
                        <a:pt x="1999" y="592"/>
                      </a:lnTo>
                      <a:lnTo>
                        <a:pt x="1946" y="524"/>
                      </a:lnTo>
                      <a:lnTo>
                        <a:pt x="1888" y="461"/>
                      </a:lnTo>
                      <a:lnTo>
                        <a:pt x="1825" y="403"/>
                      </a:lnTo>
                      <a:lnTo>
                        <a:pt x="1756" y="352"/>
                      </a:lnTo>
                      <a:lnTo>
                        <a:pt x="1684" y="305"/>
                      </a:lnTo>
                      <a:lnTo>
                        <a:pt x="1607" y="265"/>
                      </a:lnTo>
                      <a:lnTo>
                        <a:pt x="1527" y="231"/>
                      </a:lnTo>
                      <a:lnTo>
                        <a:pt x="1444" y="204"/>
                      </a:lnTo>
                      <a:lnTo>
                        <a:pt x="1357" y="184"/>
                      </a:lnTo>
                      <a:lnTo>
                        <a:pt x="1268" y="172"/>
                      </a:lnTo>
                      <a:lnTo>
                        <a:pt x="1177" y="168"/>
                      </a:lnTo>
                      <a:close/>
                      <a:moveTo>
                        <a:pt x="1177" y="0"/>
                      </a:moveTo>
                      <a:lnTo>
                        <a:pt x="1278" y="5"/>
                      </a:lnTo>
                      <a:lnTo>
                        <a:pt x="1377" y="17"/>
                      </a:lnTo>
                      <a:lnTo>
                        <a:pt x="1473" y="39"/>
                      </a:lnTo>
                      <a:lnTo>
                        <a:pt x="1566" y="67"/>
                      </a:lnTo>
                      <a:lnTo>
                        <a:pt x="1656" y="103"/>
                      </a:lnTo>
                      <a:lnTo>
                        <a:pt x="1742" y="145"/>
                      </a:lnTo>
                      <a:lnTo>
                        <a:pt x="1823" y="194"/>
                      </a:lnTo>
                      <a:lnTo>
                        <a:pt x="1901" y="249"/>
                      </a:lnTo>
                      <a:lnTo>
                        <a:pt x="1972" y="311"/>
                      </a:lnTo>
                      <a:lnTo>
                        <a:pt x="2039" y="377"/>
                      </a:lnTo>
                      <a:lnTo>
                        <a:pt x="2101" y="450"/>
                      </a:lnTo>
                      <a:lnTo>
                        <a:pt x="2157" y="527"/>
                      </a:lnTo>
                      <a:lnTo>
                        <a:pt x="2207" y="608"/>
                      </a:lnTo>
                      <a:lnTo>
                        <a:pt x="2250" y="693"/>
                      </a:lnTo>
                      <a:lnTo>
                        <a:pt x="2285" y="783"/>
                      </a:lnTo>
                      <a:lnTo>
                        <a:pt x="2314" y="875"/>
                      </a:lnTo>
                      <a:lnTo>
                        <a:pt x="2334" y="971"/>
                      </a:lnTo>
                      <a:lnTo>
                        <a:pt x="2347" y="1069"/>
                      </a:lnTo>
                      <a:lnTo>
                        <a:pt x="2351" y="1170"/>
                      </a:lnTo>
                      <a:lnTo>
                        <a:pt x="2347" y="1271"/>
                      </a:lnTo>
                      <a:lnTo>
                        <a:pt x="2334" y="1369"/>
                      </a:lnTo>
                      <a:lnTo>
                        <a:pt x="2314" y="1465"/>
                      </a:lnTo>
                      <a:lnTo>
                        <a:pt x="2285" y="1557"/>
                      </a:lnTo>
                      <a:lnTo>
                        <a:pt x="2250" y="1647"/>
                      </a:lnTo>
                      <a:lnTo>
                        <a:pt x="2207" y="1732"/>
                      </a:lnTo>
                      <a:lnTo>
                        <a:pt x="2157" y="1813"/>
                      </a:lnTo>
                      <a:lnTo>
                        <a:pt x="2101" y="1890"/>
                      </a:lnTo>
                      <a:lnTo>
                        <a:pt x="2039" y="1961"/>
                      </a:lnTo>
                      <a:lnTo>
                        <a:pt x="1972" y="2028"/>
                      </a:lnTo>
                      <a:lnTo>
                        <a:pt x="1901" y="2089"/>
                      </a:lnTo>
                      <a:lnTo>
                        <a:pt x="1823" y="2145"/>
                      </a:lnTo>
                      <a:lnTo>
                        <a:pt x="1742" y="2195"/>
                      </a:lnTo>
                      <a:lnTo>
                        <a:pt x="1656" y="2237"/>
                      </a:lnTo>
                      <a:lnTo>
                        <a:pt x="1566" y="2273"/>
                      </a:lnTo>
                      <a:lnTo>
                        <a:pt x="1473" y="2301"/>
                      </a:lnTo>
                      <a:lnTo>
                        <a:pt x="1377" y="2321"/>
                      </a:lnTo>
                      <a:lnTo>
                        <a:pt x="1278" y="2334"/>
                      </a:lnTo>
                      <a:lnTo>
                        <a:pt x="1177" y="2338"/>
                      </a:lnTo>
                      <a:lnTo>
                        <a:pt x="1075" y="2334"/>
                      </a:lnTo>
                      <a:lnTo>
                        <a:pt x="976" y="2321"/>
                      </a:lnTo>
                      <a:lnTo>
                        <a:pt x="880" y="2301"/>
                      </a:lnTo>
                      <a:lnTo>
                        <a:pt x="787" y="2273"/>
                      </a:lnTo>
                      <a:lnTo>
                        <a:pt x="697" y="2237"/>
                      </a:lnTo>
                      <a:lnTo>
                        <a:pt x="611" y="2195"/>
                      </a:lnTo>
                      <a:lnTo>
                        <a:pt x="530" y="2145"/>
                      </a:lnTo>
                      <a:lnTo>
                        <a:pt x="452" y="2089"/>
                      </a:lnTo>
                      <a:lnTo>
                        <a:pt x="380" y="2028"/>
                      </a:lnTo>
                      <a:lnTo>
                        <a:pt x="312" y="1961"/>
                      </a:lnTo>
                      <a:lnTo>
                        <a:pt x="251" y="1890"/>
                      </a:lnTo>
                      <a:lnTo>
                        <a:pt x="195" y="1813"/>
                      </a:lnTo>
                      <a:lnTo>
                        <a:pt x="146" y="1732"/>
                      </a:lnTo>
                      <a:lnTo>
                        <a:pt x="103" y="1647"/>
                      </a:lnTo>
                      <a:lnTo>
                        <a:pt x="68" y="1557"/>
                      </a:lnTo>
                      <a:lnTo>
                        <a:pt x="39" y="1465"/>
                      </a:lnTo>
                      <a:lnTo>
                        <a:pt x="17" y="1369"/>
                      </a:lnTo>
                      <a:lnTo>
                        <a:pt x="5" y="1271"/>
                      </a:lnTo>
                      <a:lnTo>
                        <a:pt x="0" y="1170"/>
                      </a:lnTo>
                      <a:lnTo>
                        <a:pt x="5" y="1069"/>
                      </a:lnTo>
                      <a:lnTo>
                        <a:pt x="17" y="971"/>
                      </a:lnTo>
                      <a:lnTo>
                        <a:pt x="39" y="875"/>
                      </a:lnTo>
                      <a:lnTo>
                        <a:pt x="68" y="783"/>
                      </a:lnTo>
                      <a:lnTo>
                        <a:pt x="103" y="693"/>
                      </a:lnTo>
                      <a:lnTo>
                        <a:pt x="146" y="608"/>
                      </a:lnTo>
                      <a:lnTo>
                        <a:pt x="195" y="527"/>
                      </a:lnTo>
                      <a:lnTo>
                        <a:pt x="251" y="450"/>
                      </a:lnTo>
                      <a:lnTo>
                        <a:pt x="312" y="377"/>
                      </a:lnTo>
                      <a:lnTo>
                        <a:pt x="380" y="311"/>
                      </a:lnTo>
                      <a:lnTo>
                        <a:pt x="452" y="249"/>
                      </a:lnTo>
                      <a:lnTo>
                        <a:pt x="530" y="194"/>
                      </a:lnTo>
                      <a:lnTo>
                        <a:pt x="611" y="145"/>
                      </a:lnTo>
                      <a:lnTo>
                        <a:pt x="697" y="103"/>
                      </a:lnTo>
                      <a:lnTo>
                        <a:pt x="787" y="67"/>
                      </a:lnTo>
                      <a:lnTo>
                        <a:pt x="880" y="39"/>
                      </a:lnTo>
                      <a:lnTo>
                        <a:pt x="976" y="17"/>
                      </a:lnTo>
                      <a:lnTo>
                        <a:pt x="1075" y="5"/>
                      </a:lnTo>
                      <a:lnTo>
                        <a:pt x="1177" y="0"/>
                      </a:lnTo>
                      <a:close/>
                    </a:path>
                  </a:pathLst>
                </a:custGeom>
                <a:grpFill/>
                <a:ln w="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34" name="Freeform 73">
                  <a:extLst>
                    <a:ext uri="{FF2B5EF4-FFF2-40B4-BE49-F238E27FC236}">
                      <a16:creationId xmlns:a16="http://schemas.microsoft.com/office/drawing/2014/main" id="{5538269C-064F-0C92-08CD-506D5F1196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419225" y="1751013"/>
                  <a:ext cx="3598863" cy="3578225"/>
                </a:xfrm>
                <a:custGeom>
                  <a:avLst/>
                  <a:gdLst>
                    <a:gd name="T0" fmla="*/ 1930 w 4533"/>
                    <a:gd name="T1" fmla="*/ 232 h 4508"/>
                    <a:gd name="T2" fmla="*/ 1435 w 4533"/>
                    <a:gd name="T3" fmla="*/ 707 h 4508"/>
                    <a:gd name="T4" fmla="*/ 1009 w 4533"/>
                    <a:gd name="T5" fmla="*/ 569 h 4508"/>
                    <a:gd name="T6" fmla="*/ 572 w 4533"/>
                    <a:gd name="T7" fmla="*/ 1025 h 4508"/>
                    <a:gd name="T8" fmla="*/ 660 w 4533"/>
                    <a:gd name="T9" fmla="*/ 1530 h 4508"/>
                    <a:gd name="T10" fmla="*/ 212 w 4533"/>
                    <a:gd name="T11" fmla="*/ 1922 h 4508"/>
                    <a:gd name="T12" fmla="*/ 170 w 4533"/>
                    <a:gd name="T13" fmla="*/ 2543 h 4508"/>
                    <a:gd name="T14" fmla="*/ 549 w 4533"/>
                    <a:gd name="T15" fmla="*/ 2652 h 4508"/>
                    <a:gd name="T16" fmla="*/ 804 w 4533"/>
                    <a:gd name="T17" fmla="*/ 3236 h 4508"/>
                    <a:gd name="T18" fmla="*/ 591 w 4533"/>
                    <a:gd name="T19" fmla="*/ 3539 h 4508"/>
                    <a:gd name="T20" fmla="*/ 1066 w 4533"/>
                    <a:gd name="T21" fmla="*/ 3919 h 4508"/>
                    <a:gd name="T22" fmla="*/ 1754 w 4533"/>
                    <a:gd name="T23" fmla="*/ 3930 h 4508"/>
                    <a:gd name="T24" fmla="*/ 1957 w 4533"/>
                    <a:gd name="T25" fmla="*/ 4329 h 4508"/>
                    <a:gd name="T26" fmla="*/ 2590 w 4533"/>
                    <a:gd name="T27" fmla="*/ 4315 h 4508"/>
                    <a:gd name="T28" fmla="*/ 2888 w 4533"/>
                    <a:gd name="T29" fmla="*/ 3895 h 4508"/>
                    <a:gd name="T30" fmla="*/ 3483 w 4533"/>
                    <a:gd name="T31" fmla="*/ 3932 h 4508"/>
                    <a:gd name="T32" fmla="*/ 3954 w 4533"/>
                    <a:gd name="T33" fmla="*/ 3522 h 4508"/>
                    <a:gd name="T34" fmla="*/ 3763 w 4533"/>
                    <a:gd name="T35" fmla="*/ 3179 h 4508"/>
                    <a:gd name="T36" fmla="*/ 3998 w 4533"/>
                    <a:gd name="T37" fmla="*/ 2587 h 4508"/>
                    <a:gd name="T38" fmla="*/ 4364 w 4533"/>
                    <a:gd name="T39" fmla="*/ 2523 h 4508"/>
                    <a:gd name="T40" fmla="*/ 4300 w 4533"/>
                    <a:gd name="T41" fmla="*/ 1920 h 4508"/>
                    <a:gd name="T42" fmla="*/ 3820 w 4533"/>
                    <a:gd name="T43" fmla="*/ 1427 h 4508"/>
                    <a:gd name="T44" fmla="*/ 3959 w 4533"/>
                    <a:gd name="T45" fmla="*/ 1003 h 4508"/>
                    <a:gd name="T46" fmla="*/ 3503 w 4533"/>
                    <a:gd name="T47" fmla="*/ 569 h 4508"/>
                    <a:gd name="T48" fmla="*/ 2993 w 4533"/>
                    <a:gd name="T49" fmla="*/ 656 h 4508"/>
                    <a:gd name="T50" fmla="*/ 2598 w 4533"/>
                    <a:gd name="T51" fmla="*/ 211 h 4508"/>
                    <a:gd name="T52" fmla="*/ 1996 w 4533"/>
                    <a:gd name="T53" fmla="*/ 0 h 4508"/>
                    <a:gd name="T54" fmla="*/ 2714 w 4533"/>
                    <a:gd name="T55" fmla="*/ 82 h 4508"/>
                    <a:gd name="T56" fmla="*/ 2889 w 4533"/>
                    <a:gd name="T57" fmla="*/ 435 h 4508"/>
                    <a:gd name="T58" fmla="*/ 3414 w 4533"/>
                    <a:gd name="T59" fmla="*/ 424 h 4508"/>
                    <a:gd name="T60" fmla="*/ 3646 w 4533"/>
                    <a:gd name="T61" fmla="*/ 444 h 4508"/>
                    <a:gd name="T62" fmla="*/ 4125 w 4533"/>
                    <a:gd name="T63" fmla="*/ 978 h 4508"/>
                    <a:gd name="T64" fmla="*/ 4059 w 4533"/>
                    <a:gd name="T65" fmla="*/ 1178 h 4508"/>
                    <a:gd name="T66" fmla="*/ 4300 w 4533"/>
                    <a:gd name="T67" fmla="*/ 1753 h 4508"/>
                    <a:gd name="T68" fmla="*/ 4500 w 4533"/>
                    <a:gd name="T69" fmla="*/ 1867 h 4508"/>
                    <a:gd name="T70" fmla="*/ 4517 w 4533"/>
                    <a:gd name="T71" fmla="*/ 2603 h 4508"/>
                    <a:gd name="T72" fmla="*/ 4341 w 4533"/>
                    <a:gd name="T73" fmla="*/ 2751 h 4508"/>
                    <a:gd name="T74" fmla="*/ 3941 w 4533"/>
                    <a:gd name="T75" fmla="*/ 3210 h 4508"/>
                    <a:gd name="T76" fmla="*/ 4128 w 4533"/>
                    <a:gd name="T77" fmla="*/ 3493 h 4508"/>
                    <a:gd name="T78" fmla="*/ 3677 w 4533"/>
                    <a:gd name="T79" fmla="*/ 4037 h 4508"/>
                    <a:gd name="T80" fmla="*/ 3453 w 4533"/>
                    <a:gd name="T81" fmla="*/ 4095 h 4508"/>
                    <a:gd name="T82" fmla="*/ 3005 w 4533"/>
                    <a:gd name="T83" fmla="*/ 4027 h 4508"/>
                    <a:gd name="T84" fmla="*/ 2737 w 4533"/>
                    <a:gd name="T85" fmla="*/ 4393 h 4508"/>
                    <a:gd name="T86" fmla="*/ 2537 w 4533"/>
                    <a:gd name="T87" fmla="*/ 4508 h 4508"/>
                    <a:gd name="T88" fmla="*/ 1817 w 4533"/>
                    <a:gd name="T89" fmla="*/ 4426 h 4508"/>
                    <a:gd name="T90" fmla="*/ 1644 w 4533"/>
                    <a:gd name="T91" fmla="*/ 4071 h 4508"/>
                    <a:gd name="T92" fmla="*/ 1118 w 4533"/>
                    <a:gd name="T93" fmla="*/ 4083 h 4508"/>
                    <a:gd name="T94" fmla="*/ 886 w 4533"/>
                    <a:gd name="T95" fmla="*/ 4064 h 4508"/>
                    <a:gd name="T96" fmla="*/ 406 w 4533"/>
                    <a:gd name="T97" fmla="*/ 3530 h 4508"/>
                    <a:gd name="T98" fmla="*/ 472 w 4533"/>
                    <a:gd name="T99" fmla="*/ 3328 h 4508"/>
                    <a:gd name="T100" fmla="*/ 233 w 4533"/>
                    <a:gd name="T101" fmla="*/ 2755 h 4508"/>
                    <a:gd name="T102" fmla="*/ 31 w 4533"/>
                    <a:gd name="T103" fmla="*/ 2640 h 4508"/>
                    <a:gd name="T104" fmla="*/ 14 w 4533"/>
                    <a:gd name="T105" fmla="*/ 1904 h 4508"/>
                    <a:gd name="T106" fmla="*/ 190 w 4533"/>
                    <a:gd name="T107" fmla="*/ 1756 h 4508"/>
                    <a:gd name="T108" fmla="*/ 592 w 4533"/>
                    <a:gd name="T109" fmla="*/ 1296 h 4508"/>
                    <a:gd name="T110" fmla="*/ 404 w 4533"/>
                    <a:gd name="T111" fmla="*/ 1015 h 4508"/>
                    <a:gd name="T112" fmla="*/ 854 w 4533"/>
                    <a:gd name="T113" fmla="*/ 470 h 4508"/>
                    <a:gd name="T114" fmla="*/ 1079 w 4533"/>
                    <a:gd name="T115" fmla="*/ 411 h 4508"/>
                    <a:gd name="T116" fmla="*/ 1527 w 4533"/>
                    <a:gd name="T117" fmla="*/ 480 h 4508"/>
                    <a:gd name="T118" fmla="*/ 1794 w 4533"/>
                    <a:gd name="T119" fmla="*/ 114 h 4508"/>
                    <a:gd name="T120" fmla="*/ 1996 w 4533"/>
                    <a:gd name="T121" fmla="*/ 0 h 45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533" h="4508">
                      <a:moveTo>
                        <a:pt x="1996" y="166"/>
                      </a:moveTo>
                      <a:lnTo>
                        <a:pt x="1975" y="169"/>
                      </a:lnTo>
                      <a:lnTo>
                        <a:pt x="1957" y="179"/>
                      </a:lnTo>
                      <a:lnTo>
                        <a:pt x="1943" y="193"/>
                      </a:lnTo>
                      <a:lnTo>
                        <a:pt x="1933" y="211"/>
                      </a:lnTo>
                      <a:lnTo>
                        <a:pt x="1930" y="232"/>
                      </a:lnTo>
                      <a:lnTo>
                        <a:pt x="1930" y="532"/>
                      </a:lnTo>
                      <a:lnTo>
                        <a:pt x="1866" y="546"/>
                      </a:lnTo>
                      <a:lnTo>
                        <a:pt x="1754" y="576"/>
                      </a:lnTo>
                      <a:lnTo>
                        <a:pt x="1646" y="613"/>
                      </a:lnTo>
                      <a:lnTo>
                        <a:pt x="1538" y="656"/>
                      </a:lnTo>
                      <a:lnTo>
                        <a:pt x="1435" y="707"/>
                      </a:lnTo>
                      <a:lnTo>
                        <a:pt x="1335" y="764"/>
                      </a:lnTo>
                      <a:lnTo>
                        <a:pt x="1279" y="800"/>
                      </a:lnTo>
                      <a:lnTo>
                        <a:pt x="1066" y="588"/>
                      </a:lnTo>
                      <a:lnTo>
                        <a:pt x="1049" y="575"/>
                      </a:lnTo>
                      <a:lnTo>
                        <a:pt x="1030" y="569"/>
                      </a:lnTo>
                      <a:lnTo>
                        <a:pt x="1009" y="569"/>
                      </a:lnTo>
                      <a:lnTo>
                        <a:pt x="990" y="575"/>
                      </a:lnTo>
                      <a:lnTo>
                        <a:pt x="973" y="588"/>
                      </a:lnTo>
                      <a:lnTo>
                        <a:pt x="591" y="968"/>
                      </a:lnTo>
                      <a:lnTo>
                        <a:pt x="580" y="985"/>
                      </a:lnTo>
                      <a:lnTo>
                        <a:pt x="572" y="1003"/>
                      </a:lnTo>
                      <a:lnTo>
                        <a:pt x="572" y="1025"/>
                      </a:lnTo>
                      <a:lnTo>
                        <a:pt x="580" y="1043"/>
                      </a:lnTo>
                      <a:lnTo>
                        <a:pt x="591" y="1060"/>
                      </a:lnTo>
                      <a:lnTo>
                        <a:pt x="804" y="1272"/>
                      </a:lnTo>
                      <a:lnTo>
                        <a:pt x="768" y="1328"/>
                      </a:lnTo>
                      <a:lnTo>
                        <a:pt x="711" y="1427"/>
                      </a:lnTo>
                      <a:lnTo>
                        <a:pt x="660" y="1530"/>
                      </a:lnTo>
                      <a:lnTo>
                        <a:pt x="617" y="1636"/>
                      </a:lnTo>
                      <a:lnTo>
                        <a:pt x="580" y="1745"/>
                      </a:lnTo>
                      <a:lnTo>
                        <a:pt x="549" y="1856"/>
                      </a:lnTo>
                      <a:lnTo>
                        <a:pt x="535" y="1920"/>
                      </a:lnTo>
                      <a:lnTo>
                        <a:pt x="233" y="1920"/>
                      </a:lnTo>
                      <a:lnTo>
                        <a:pt x="212" y="1922"/>
                      </a:lnTo>
                      <a:lnTo>
                        <a:pt x="195" y="1932"/>
                      </a:lnTo>
                      <a:lnTo>
                        <a:pt x="180" y="1947"/>
                      </a:lnTo>
                      <a:lnTo>
                        <a:pt x="170" y="1964"/>
                      </a:lnTo>
                      <a:lnTo>
                        <a:pt x="167" y="1985"/>
                      </a:lnTo>
                      <a:lnTo>
                        <a:pt x="167" y="2523"/>
                      </a:lnTo>
                      <a:lnTo>
                        <a:pt x="170" y="2543"/>
                      </a:lnTo>
                      <a:lnTo>
                        <a:pt x="180" y="2561"/>
                      </a:lnTo>
                      <a:lnTo>
                        <a:pt x="195" y="2576"/>
                      </a:lnTo>
                      <a:lnTo>
                        <a:pt x="212" y="2584"/>
                      </a:lnTo>
                      <a:lnTo>
                        <a:pt x="233" y="2587"/>
                      </a:lnTo>
                      <a:lnTo>
                        <a:pt x="535" y="2587"/>
                      </a:lnTo>
                      <a:lnTo>
                        <a:pt x="549" y="2652"/>
                      </a:lnTo>
                      <a:lnTo>
                        <a:pt x="580" y="2763"/>
                      </a:lnTo>
                      <a:lnTo>
                        <a:pt x="617" y="2872"/>
                      </a:lnTo>
                      <a:lnTo>
                        <a:pt x="660" y="2977"/>
                      </a:lnTo>
                      <a:lnTo>
                        <a:pt x="711" y="3079"/>
                      </a:lnTo>
                      <a:lnTo>
                        <a:pt x="768" y="3179"/>
                      </a:lnTo>
                      <a:lnTo>
                        <a:pt x="804" y="3236"/>
                      </a:lnTo>
                      <a:lnTo>
                        <a:pt x="591" y="3448"/>
                      </a:lnTo>
                      <a:lnTo>
                        <a:pt x="580" y="3464"/>
                      </a:lnTo>
                      <a:lnTo>
                        <a:pt x="572" y="3484"/>
                      </a:lnTo>
                      <a:lnTo>
                        <a:pt x="572" y="3503"/>
                      </a:lnTo>
                      <a:lnTo>
                        <a:pt x="580" y="3522"/>
                      </a:lnTo>
                      <a:lnTo>
                        <a:pt x="591" y="3539"/>
                      </a:lnTo>
                      <a:lnTo>
                        <a:pt x="973" y="3919"/>
                      </a:lnTo>
                      <a:lnTo>
                        <a:pt x="990" y="3932"/>
                      </a:lnTo>
                      <a:lnTo>
                        <a:pt x="1009" y="3937"/>
                      </a:lnTo>
                      <a:lnTo>
                        <a:pt x="1030" y="3937"/>
                      </a:lnTo>
                      <a:lnTo>
                        <a:pt x="1049" y="3932"/>
                      </a:lnTo>
                      <a:lnTo>
                        <a:pt x="1066" y="3919"/>
                      </a:lnTo>
                      <a:lnTo>
                        <a:pt x="1279" y="3707"/>
                      </a:lnTo>
                      <a:lnTo>
                        <a:pt x="1335" y="3743"/>
                      </a:lnTo>
                      <a:lnTo>
                        <a:pt x="1435" y="3799"/>
                      </a:lnTo>
                      <a:lnTo>
                        <a:pt x="1538" y="3851"/>
                      </a:lnTo>
                      <a:lnTo>
                        <a:pt x="1646" y="3895"/>
                      </a:lnTo>
                      <a:lnTo>
                        <a:pt x="1754" y="3930"/>
                      </a:lnTo>
                      <a:lnTo>
                        <a:pt x="1866" y="3960"/>
                      </a:lnTo>
                      <a:lnTo>
                        <a:pt x="1930" y="3976"/>
                      </a:lnTo>
                      <a:lnTo>
                        <a:pt x="1930" y="4276"/>
                      </a:lnTo>
                      <a:lnTo>
                        <a:pt x="1933" y="4296"/>
                      </a:lnTo>
                      <a:lnTo>
                        <a:pt x="1943" y="4315"/>
                      </a:lnTo>
                      <a:lnTo>
                        <a:pt x="1957" y="4329"/>
                      </a:lnTo>
                      <a:lnTo>
                        <a:pt x="1975" y="4337"/>
                      </a:lnTo>
                      <a:lnTo>
                        <a:pt x="1996" y="4340"/>
                      </a:lnTo>
                      <a:lnTo>
                        <a:pt x="2537" y="4340"/>
                      </a:lnTo>
                      <a:lnTo>
                        <a:pt x="2557" y="4337"/>
                      </a:lnTo>
                      <a:lnTo>
                        <a:pt x="2576" y="4329"/>
                      </a:lnTo>
                      <a:lnTo>
                        <a:pt x="2590" y="4315"/>
                      </a:lnTo>
                      <a:lnTo>
                        <a:pt x="2598" y="4296"/>
                      </a:lnTo>
                      <a:lnTo>
                        <a:pt x="2601" y="4276"/>
                      </a:lnTo>
                      <a:lnTo>
                        <a:pt x="2601" y="3976"/>
                      </a:lnTo>
                      <a:lnTo>
                        <a:pt x="2667" y="3960"/>
                      </a:lnTo>
                      <a:lnTo>
                        <a:pt x="2779" y="3930"/>
                      </a:lnTo>
                      <a:lnTo>
                        <a:pt x="2888" y="3895"/>
                      </a:lnTo>
                      <a:lnTo>
                        <a:pt x="2993" y="3851"/>
                      </a:lnTo>
                      <a:lnTo>
                        <a:pt x="3096" y="3799"/>
                      </a:lnTo>
                      <a:lnTo>
                        <a:pt x="3197" y="3743"/>
                      </a:lnTo>
                      <a:lnTo>
                        <a:pt x="3254" y="3707"/>
                      </a:lnTo>
                      <a:lnTo>
                        <a:pt x="3467" y="3919"/>
                      </a:lnTo>
                      <a:lnTo>
                        <a:pt x="3483" y="3932"/>
                      </a:lnTo>
                      <a:lnTo>
                        <a:pt x="3503" y="3937"/>
                      </a:lnTo>
                      <a:lnTo>
                        <a:pt x="3523" y="3937"/>
                      </a:lnTo>
                      <a:lnTo>
                        <a:pt x="3541" y="3932"/>
                      </a:lnTo>
                      <a:lnTo>
                        <a:pt x="3559" y="3919"/>
                      </a:lnTo>
                      <a:lnTo>
                        <a:pt x="3941" y="3539"/>
                      </a:lnTo>
                      <a:lnTo>
                        <a:pt x="3954" y="3522"/>
                      </a:lnTo>
                      <a:lnTo>
                        <a:pt x="3959" y="3503"/>
                      </a:lnTo>
                      <a:lnTo>
                        <a:pt x="3959" y="3484"/>
                      </a:lnTo>
                      <a:lnTo>
                        <a:pt x="3954" y="3464"/>
                      </a:lnTo>
                      <a:lnTo>
                        <a:pt x="3941" y="3448"/>
                      </a:lnTo>
                      <a:lnTo>
                        <a:pt x="3727" y="3236"/>
                      </a:lnTo>
                      <a:lnTo>
                        <a:pt x="3763" y="3179"/>
                      </a:lnTo>
                      <a:lnTo>
                        <a:pt x="3820" y="3079"/>
                      </a:lnTo>
                      <a:lnTo>
                        <a:pt x="3872" y="2977"/>
                      </a:lnTo>
                      <a:lnTo>
                        <a:pt x="3916" y="2872"/>
                      </a:lnTo>
                      <a:lnTo>
                        <a:pt x="3952" y="2763"/>
                      </a:lnTo>
                      <a:lnTo>
                        <a:pt x="3982" y="2652"/>
                      </a:lnTo>
                      <a:lnTo>
                        <a:pt x="3998" y="2587"/>
                      </a:lnTo>
                      <a:lnTo>
                        <a:pt x="4300" y="2587"/>
                      </a:lnTo>
                      <a:lnTo>
                        <a:pt x="4320" y="2584"/>
                      </a:lnTo>
                      <a:lnTo>
                        <a:pt x="4338" y="2576"/>
                      </a:lnTo>
                      <a:lnTo>
                        <a:pt x="4353" y="2561"/>
                      </a:lnTo>
                      <a:lnTo>
                        <a:pt x="4361" y="2543"/>
                      </a:lnTo>
                      <a:lnTo>
                        <a:pt x="4364" y="2523"/>
                      </a:lnTo>
                      <a:lnTo>
                        <a:pt x="4364" y="1985"/>
                      </a:lnTo>
                      <a:lnTo>
                        <a:pt x="4361" y="1964"/>
                      </a:lnTo>
                      <a:lnTo>
                        <a:pt x="4353" y="1947"/>
                      </a:lnTo>
                      <a:lnTo>
                        <a:pt x="4338" y="1932"/>
                      </a:lnTo>
                      <a:lnTo>
                        <a:pt x="4320" y="1922"/>
                      </a:lnTo>
                      <a:lnTo>
                        <a:pt x="4300" y="1920"/>
                      </a:lnTo>
                      <a:lnTo>
                        <a:pt x="3998" y="1920"/>
                      </a:lnTo>
                      <a:lnTo>
                        <a:pt x="3982" y="1856"/>
                      </a:lnTo>
                      <a:lnTo>
                        <a:pt x="3952" y="1745"/>
                      </a:lnTo>
                      <a:lnTo>
                        <a:pt x="3916" y="1636"/>
                      </a:lnTo>
                      <a:lnTo>
                        <a:pt x="3872" y="1530"/>
                      </a:lnTo>
                      <a:lnTo>
                        <a:pt x="3820" y="1427"/>
                      </a:lnTo>
                      <a:lnTo>
                        <a:pt x="3763" y="1328"/>
                      </a:lnTo>
                      <a:lnTo>
                        <a:pt x="3727" y="1272"/>
                      </a:lnTo>
                      <a:lnTo>
                        <a:pt x="3941" y="1060"/>
                      </a:lnTo>
                      <a:lnTo>
                        <a:pt x="3954" y="1043"/>
                      </a:lnTo>
                      <a:lnTo>
                        <a:pt x="3959" y="1025"/>
                      </a:lnTo>
                      <a:lnTo>
                        <a:pt x="3959" y="1003"/>
                      </a:lnTo>
                      <a:lnTo>
                        <a:pt x="3954" y="985"/>
                      </a:lnTo>
                      <a:lnTo>
                        <a:pt x="3941" y="968"/>
                      </a:lnTo>
                      <a:lnTo>
                        <a:pt x="3559" y="588"/>
                      </a:lnTo>
                      <a:lnTo>
                        <a:pt x="3541" y="575"/>
                      </a:lnTo>
                      <a:lnTo>
                        <a:pt x="3523" y="569"/>
                      </a:lnTo>
                      <a:lnTo>
                        <a:pt x="3503" y="569"/>
                      </a:lnTo>
                      <a:lnTo>
                        <a:pt x="3483" y="575"/>
                      </a:lnTo>
                      <a:lnTo>
                        <a:pt x="3467" y="588"/>
                      </a:lnTo>
                      <a:lnTo>
                        <a:pt x="3254" y="800"/>
                      </a:lnTo>
                      <a:lnTo>
                        <a:pt x="3197" y="764"/>
                      </a:lnTo>
                      <a:lnTo>
                        <a:pt x="3096" y="707"/>
                      </a:lnTo>
                      <a:lnTo>
                        <a:pt x="2993" y="656"/>
                      </a:lnTo>
                      <a:lnTo>
                        <a:pt x="2888" y="613"/>
                      </a:lnTo>
                      <a:lnTo>
                        <a:pt x="2779" y="576"/>
                      </a:lnTo>
                      <a:lnTo>
                        <a:pt x="2667" y="546"/>
                      </a:lnTo>
                      <a:lnTo>
                        <a:pt x="2601" y="532"/>
                      </a:lnTo>
                      <a:lnTo>
                        <a:pt x="2601" y="232"/>
                      </a:lnTo>
                      <a:lnTo>
                        <a:pt x="2598" y="211"/>
                      </a:lnTo>
                      <a:lnTo>
                        <a:pt x="2590" y="193"/>
                      </a:lnTo>
                      <a:lnTo>
                        <a:pt x="2576" y="179"/>
                      </a:lnTo>
                      <a:lnTo>
                        <a:pt x="2557" y="169"/>
                      </a:lnTo>
                      <a:lnTo>
                        <a:pt x="2537" y="166"/>
                      </a:lnTo>
                      <a:lnTo>
                        <a:pt x="1996" y="166"/>
                      </a:lnTo>
                      <a:close/>
                      <a:moveTo>
                        <a:pt x="1996" y="0"/>
                      </a:moveTo>
                      <a:lnTo>
                        <a:pt x="2537" y="0"/>
                      </a:lnTo>
                      <a:lnTo>
                        <a:pt x="2578" y="3"/>
                      </a:lnTo>
                      <a:lnTo>
                        <a:pt x="2617" y="14"/>
                      </a:lnTo>
                      <a:lnTo>
                        <a:pt x="2654" y="31"/>
                      </a:lnTo>
                      <a:lnTo>
                        <a:pt x="2687" y="54"/>
                      </a:lnTo>
                      <a:lnTo>
                        <a:pt x="2714" y="82"/>
                      </a:lnTo>
                      <a:lnTo>
                        <a:pt x="2737" y="114"/>
                      </a:lnTo>
                      <a:lnTo>
                        <a:pt x="2754" y="151"/>
                      </a:lnTo>
                      <a:lnTo>
                        <a:pt x="2766" y="189"/>
                      </a:lnTo>
                      <a:lnTo>
                        <a:pt x="2770" y="232"/>
                      </a:lnTo>
                      <a:lnTo>
                        <a:pt x="2770" y="400"/>
                      </a:lnTo>
                      <a:lnTo>
                        <a:pt x="2889" y="435"/>
                      </a:lnTo>
                      <a:lnTo>
                        <a:pt x="3005" y="480"/>
                      </a:lnTo>
                      <a:lnTo>
                        <a:pt x="3118" y="531"/>
                      </a:lnTo>
                      <a:lnTo>
                        <a:pt x="3228" y="589"/>
                      </a:lnTo>
                      <a:lnTo>
                        <a:pt x="3347" y="470"/>
                      </a:lnTo>
                      <a:lnTo>
                        <a:pt x="3380" y="444"/>
                      </a:lnTo>
                      <a:lnTo>
                        <a:pt x="3414" y="424"/>
                      </a:lnTo>
                      <a:lnTo>
                        <a:pt x="3453" y="411"/>
                      </a:lnTo>
                      <a:lnTo>
                        <a:pt x="3493" y="404"/>
                      </a:lnTo>
                      <a:lnTo>
                        <a:pt x="3533" y="404"/>
                      </a:lnTo>
                      <a:lnTo>
                        <a:pt x="3573" y="411"/>
                      </a:lnTo>
                      <a:lnTo>
                        <a:pt x="3610" y="424"/>
                      </a:lnTo>
                      <a:lnTo>
                        <a:pt x="3646" y="444"/>
                      </a:lnTo>
                      <a:lnTo>
                        <a:pt x="3677" y="470"/>
                      </a:lnTo>
                      <a:lnTo>
                        <a:pt x="4059" y="850"/>
                      </a:lnTo>
                      <a:lnTo>
                        <a:pt x="4084" y="878"/>
                      </a:lnTo>
                      <a:lnTo>
                        <a:pt x="4102" y="908"/>
                      </a:lnTo>
                      <a:lnTo>
                        <a:pt x="4117" y="942"/>
                      </a:lnTo>
                      <a:lnTo>
                        <a:pt x="4125" y="978"/>
                      </a:lnTo>
                      <a:lnTo>
                        <a:pt x="4128" y="1015"/>
                      </a:lnTo>
                      <a:lnTo>
                        <a:pt x="4125" y="1050"/>
                      </a:lnTo>
                      <a:lnTo>
                        <a:pt x="4117" y="1086"/>
                      </a:lnTo>
                      <a:lnTo>
                        <a:pt x="4102" y="1118"/>
                      </a:lnTo>
                      <a:lnTo>
                        <a:pt x="4084" y="1150"/>
                      </a:lnTo>
                      <a:lnTo>
                        <a:pt x="4059" y="1178"/>
                      </a:lnTo>
                      <a:lnTo>
                        <a:pt x="3941" y="1296"/>
                      </a:lnTo>
                      <a:lnTo>
                        <a:pt x="3999" y="1406"/>
                      </a:lnTo>
                      <a:lnTo>
                        <a:pt x="4049" y="1518"/>
                      </a:lnTo>
                      <a:lnTo>
                        <a:pt x="4094" y="1634"/>
                      </a:lnTo>
                      <a:lnTo>
                        <a:pt x="4130" y="1753"/>
                      </a:lnTo>
                      <a:lnTo>
                        <a:pt x="4300" y="1753"/>
                      </a:lnTo>
                      <a:lnTo>
                        <a:pt x="4341" y="1756"/>
                      </a:lnTo>
                      <a:lnTo>
                        <a:pt x="4380" y="1767"/>
                      </a:lnTo>
                      <a:lnTo>
                        <a:pt x="4417" y="1784"/>
                      </a:lnTo>
                      <a:lnTo>
                        <a:pt x="4450" y="1807"/>
                      </a:lnTo>
                      <a:lnTo>
                        <a:pt x="4477" y="1836"/>
                      </a:lnTo>
                      <a:lnTo>
                        <a:pt x="4500" y="1867"/>
                      </a:lnTo>
                      <a:lnTo>
                        <a:pt x="4517" y="1904"/>
                      </a:lnTo>
                      <a:lnTo>
                        <a:pt x="4529" y="1942"/>
                      </a:lnTo>
                      <a:lnTo>
                        <a:pt x="4533" y="1985"/>
                      </a:lnTo>
                      <a:lnTo>
                        <a:pt x="4533" y="2523"/>
                      </a:lnTo>
                      <a:lnTo>
                        <a:pt x="4529" y="2564"/>
                      </a:lnTo>
                      <a:lnTo>
                        <a:pt x="4517" y="2603"/>
                      </a:lnTo>
                      <a:lnTo>
                        <a:pt x="4500" y="2640"/>
                      </a:lnTo>
                      <a:lnTo>
                        <a:pt x="4477" y="2672"/>
                      </a:lnTo>
                      <a:lnTo>
                        <a:pt x="4450" y="2699"/>
                      </a:lnTo>
                      <a:lnTo>
                        <a:pt x="4417" y="2722"/>
                      </a:lnTo>
                      <a:lnTo>
                        <a:pt x="4380" y="2739"/>
                      </a:lnTo>
                      <a:lnTo>
                        <a:pt x="4341" y="2751"/>
                      </a:lnTo>
                      <a:lnTo>
                        <a:pt x="4300" y="2755"/>
                      </a:lnTo>
                      <a:lnTo>
                        <a:pt x="4130" y="2755"/>
                      </a:lnTo>
                      <a:lnTo>
                        <a:pt x="4094" y="2873"/>
                      </a:lnTo>
                      <a:lnTo>
                        <a:pt x="4049" y="2988"/>
                      </a:lnTo>
                      <a:lnTo>
                        <a:pt x="3999" y="3101"/>
                      </a:lnTo>
                      <a:lnTo>
                        <a:pt x="3941" y="3210"/>
                      </a:lnTo>
                      <a:lnTo>
                        <a:pt x="4059" y="3328"/>
                      </a:lnTo>
                      <a:lnTo>
                        <a:pt x="4084" y="3357"/>
                      </a:lnTo>
                      <a:lnTo>
                        <a:pt x="4102" y="3388"/>
                      </a:lnTo>
                      <a:lnTo>
                        <a:pt x="4117" y="3421"/>
                      </a:lnTo>
                      <a:lnTo>
                        <a:pt x="4125" y="3456"/>
                      </a:lnTo>
                      <a:lnTo>
                        <a:pt x="4128" y="3493"/>
                      </a:lnTo>
                      <a:lnTo>
                        <a:pt x="4125" y="3530"/>
                      </a:lnTo>
                      <a:lnTo>
                        <a:pt x="4117" y="3565"/>
                      </a:lnTo>
                      <a:lnTo>
                        <a:pt x="4102" y="3599"/>
                      </a:lnTo>
                      <a:lnTo>
                        <a:pt x="4084" y="3630"/>
                      </a:lnTo>
                      <a:lnTo>
                        <a:pt x="4059" y="3657"/>
                      </a:lnTo>
                      <a:lnTo>
                        <a:pt x="3677" y="4037"/>
                      </a:lnTo>
                      <a:lnTo>
                        <a:pt x="3646" y="4064"/>
                      </a:lnTo>
                      <a:lnTo>
                        <a:pt x="3610" y="4083"/>
                      </a:lnTo>
                      <a:lnTo>
                        <a:pt x="3573" y="4095"/>
                      </a:lnTo>
                      <a:lnTo>
                        <a:pt x="3533" y="4103"/>
                      </a:lnTo>
                      <a:lnTo>
                        <a:pt x="3493" y="4103"/>
                      </a:lnTo>
                      <a:lnTo>
                        <a:pt x="3453" y="4095"/>
                      </a:lnTo>
                      <a:lnTo>
                        <a:pt x="3414" y="4083"/>
                      </a:lnTo>
                      <a:lnTo>
                        <a:pt x="3380" y="4064"/>
                      </a:lnTo>
                      <a:lnTo>
                        <a:pt x="3347" y="4037"/>
                      </a:lnTo>
                      <a:lnTo>
                        <a:pt x="3228" y="3919"/>
                      </a:lnTo>
                      <a:lnTo>
                        <a:pt x="3118" y="3977"/>
                      </a:lnTo>
                      <a:lnTo>
                        <a:pt x="3005" y="4027"/>
                      </a:lnTo>
                      <a:lnTo>
                        <a:pt x="2889" y="4071"/>
                      </a:lnTo>
                      <a:lnTo>
                        <a:pt x="2770" y="4107"/>
                      </a:lnTo>
                      <a:lnTo>
                        <a:pt x="2770" y="4276"/>
                      </a:lnTo>
                      <a:lnTo>
                        <a:pt x="2766" y="4317"/>
                      </a:lnTo>
                      <a:lnTo>
                        <a:pt x="2754" y="4356"/>
                      </a:lnTo>
                      <a:lnTo>
                        <a:pt x="2737" y="4393"/>
                      </a:lnTo>
                      <a:lnTo>
                        <a:pt x="2714" y="4426"/>
                      </a:lnTo>
                      <a:lnTo>
                        <a:pt x="2687" y="4453"/>
                      </a:lnTo>
                      <a:lnTo>
                        <a:pt x="2654" y="4475"/>
                      </a:lnTo>
                      <a:lnTo>
                        <a:pt x="2617" y="4492"/>
                      </a:lnTo>
                      <a:lnTo>
                        <a:pt x="2578" y="4504"/>
                      </a:lnTo>
                      <a:lnTo>
                        <a:pt x="2537" y="4508"/>
                      </a:lnTo>
                      <a:lnTo>
                        <a:pt x="1996" y="4508"/>
                      </a:lnTo>
                      <a:lnTo>
                        <a:pt x="1953" y="4504"/>
                      </a:lnTo>
                      <a:lnTo>
                        <a:pt x="1915" y="4492"/>
                      </a:lnTo>
                      <a:lnTo>
                        <a:pt x="1877" y="4475"/>
                      </a:lnTo>
                      <a:lnTo>
                        <a:pt x="1846" y="4453"/>
                      </a:lnTo>
                      <a:lnTo>
                        <a:pt x="1817" y="4426"/>
                      </a:lnTo>
                      <a:lnTo>
                        <a:pt x="1794" y="4393"/>
                      </a:lnTo>
                      <a:lnTo>
                        <a:pt x="1777" y="4356"/>
                      </a:lnTo>
                      <a:lnTo>
                        <a:pt x="1766" y="4317"/>
                      </a:lnTo>
                      <a:lnTo>
                        <a:pt x="1763" y="4276"/>
                      </a:lnTo>
                      <a:lnTo>
                        <a:pt x="1763" y="4107"/>
                      </a:lnTo>
                      <a:lnTo>
                        <a:pt x="1644" y="4071"/>
                      </a:lnTo>
                      <a:lnTo>
                        <a:pt x="1527" y="4027"/>
                      </a:lnTo>
                      <a:lnTo>
                        <a:pt x="1414" y="3977"/>
                      </a:lnTo>
                      <a:lnTo>
                        <a:pt x="1304" y="3919"/>
                      </a:lnTo>
                      <a:lnTo>
                        <a:pt x="1185" y="4037"/>
                      </a:lnTo>
                      <a:lnTo>
                        <a:pt x="1153" y="4064"/>
                      </a:lnTo>
                      <a:lnTo>
                        <a:pt x="1118" y="4083"/>
                      </a:lnTo>
                      <a:lnTo>
                        <a:pt x="1079" y="4095"/>
                      </a:lnTo>
                      <a:lnTo>
                        <a:pt x="1040" y="4103"/>
                      </a:lnTo>
                      <a:lnTo>
                        <a:pt x="999" y="4103"/>
                      </a:lnTo>
                      <a:lnTo>
                        <a:pt x="960" y="4095"/>
                      </a:lnTo>
                      <a:lnTo>
                        <a:pt x="921" y="4083"/>
                      </a:lnTo>
                      <a:lnTo>
                        <a:pt x="886" y="4064"/>
                      </a:lnTo>
                      <a:lnTo>
                        <a:pt x="854" y="4037"/>
                      </a:lnTo>
                      <a:lnTo>
                        <a:pt x="472" y="3657"/>
                      </a:lnTo>
                      <a:lnTo>
                        <a:pt x="448" y="3630"/>
                      </a:lnTo>
                      <a:lnTo>
                        <a:pt x="429" y="3599"/>
                      </a:lnTo>
                      <a:lnTo>
                        <a:pt x="415" y="3565"/>
                      </a:lnTo>
                      <a:lnTo>
                        <a:pt x="406" y="3530"/>
                      </a:lnTo>
                      <a:lnTo>
                        <a:pt x="404" y="3493"/>
                      </a:lnTo>
                      <a:lnTo>
                        <a:pt x="406" y="3456"/>
                      </a:lnTo>
                      <a:lnTo>
                        <a:pt x="415" y="3421"/>
                      </a:lnTo>
                      <a:lnTo>
                        <a:pt x="429" y="3388"/>
                      </a:lnTo>
                      <a:lnTo>
                        <a:pt x="448" y="3357"/>
                      </a:lnTo>
                      <a:lnTo>
                        <a:pt x="472" y="3328"/>
                      </a:lnTo>
                      <a:lnTo>
                        <a:pt x="592" y="3210"/>
                      </a:lnTo>
                      <a:lnTo>
                        <a:pt x="534" y="3101"/>
                      </a:lnTo>
                      <a:lnTo>
                        <a:pt x="482" y="2988"/>
                      </a:lnTo>
                      <a:lnTo>
                        <a:pt x="438" y="2873"/>
                      </a:lnTo>
                      <a:lnTo>
                        <a:pt x="402" y="2755"/>
                      </a:lnTo>
                      <a:lnTo>
                        <a:pt x="233" y="2755"/>
                      </a:lnTo>
                      <a:lnTo>
                        <a:pt x="190" y="2751"/>
                      </a:lnTo>
                      <a:lnTo>
                        <a:pt x="152" y="2739"/>
                      </a:lnTo>
                      <a:lnTo>
                        <a:pt x="114" y="2722"/>
                      </a:lnTo>
                      <a:lnTo>
                        <a:pt x="83" y="2699"/>
                      </a:lnTo>
                      <a:lnTo>
                        <a:pt x="54" y="2672"/>
                      </a:lnTo>
                      <a:lnTo>
                        <a:pt x="31" y="2640"/>
                      </a:lnTo>
                      <a:lnTo>
                        <a:pt x="14" y="2603"/>
                      </a:lnTo>
                      <a:lnTo>
                        <a:pt x="3" y="2564"/>
                      </a:lnTo>
                      <a:lnTo>
                        <a:pt x="0" y="2523"/>
                      </a:lnTo>
                      <a:lnTo>
                        <a:pt x="0" y="1985"/>
                      </a:lnTo>
                      <a:lnTo>
                        <a:pt x="3" y="1942"/>
                      </a:lnTo>
                      <a:lnTo>
                        <a:pt x="14" y="1904"/>
                      </a:lnTo>
                      <a:lnTo>
                        <a:pt x="31" y="1867"/>
                      </a:lnTo>
                      <a:lnTo>
                        <a:pt x="54" y="1836"/>
                      </a:lnTo>
                      <a:lnTo>
                        <a:pt x="83" y="1807"/>
                      </a:lnTo>
                      <a:lnTo>
                        <a:pt x="114" y="1784"/>
                      </a:lnTo>
                      <a:lnTo>
                        <a:pt x="152" y="1767"/>
                      </a:lnTo>
                      <a:lnTo>
                        <a:pt x="190" y="1756"/>
                      </a:lnTo>
                      <a:lnTo>
                        <a:pt x="233" y="1753"/>
                      </a:lnTo>
                      <a:lnTo>
                        <a:pt x="402" y="1753"/>
                      </a:lnTo>
                      <a:lnTo>
                        <a:pt x="438" y="1634"/>
                      </a:lnTo>
                      <a:lnTo>
                        <a:pt x="482" y="1518"/>
                      </a:lnTo>
                      <a:lnTo>
                        <a:pt x="534" y="1406"/>
                      </a:lnTo>
                      <a:lnTo>
                        <a:pt x="592" y="1296"/>
                      </a:lnTo>
                      <a:lnTo>
                        <a:pt x="472" y="1178"/>
                      </a:lnTo>
                      <a:lnTo>
                        <a:pt x="448" y="1150"/>
                      </a:lnTo>
                      <a:lnTo>
                        <a:pt x="429" y="1120"/>
                      </a:lnTo>
                      <a:lnTo>
                        <a:pt x="415" y="1086"/>
                      </a:lnTo>
                      <a:lnTo>
                        <a:pt x="406" y="1050"/>
                      </a:lnTo>
                      <a:lnTo>
                        <a:pt x="404" y="1015"/>
                      </a:lnTo>
                      <a:lnTo>
                        <a:pt x="406" y="978"/>
                      </a:lnTo>
                      <a:lnTo>
                        <a:pt x="415" y="942"/>
                      </a:lnTo>
                      <a:lnTo>
                        <a:pt x="429" y="909"/>
                      </a:lnTo>
                      <a:lnTo>
                        <a:pt x="448" y="878"/>
                      </a:lnTo>
                      <a:lnTo>
                        <a:pt x="472" y="850"/>
                      </a:lnTo>
                      <a:lnTo>
                        <a:pt x="854" y="470"/>
                      </a:lnTo>
                      <a:lnTo>
                        <a:pt x="886" y="444"/>
                      </a:lnTo>
                      <a:lnTo>
                        <a:pt x="921" y="424"/>
                      </a:lnTo>
                      <a:lnTo>
                        <a:pt x="960" y="411"/>
                      </a:lnTo>
                      <a:lnTo>
                        <a:pt x="999" y="404"/>
                      </a:lnTo>
                      <a:lnTo>
                        <a:pt x="1040" y="404"/>
                      </a:lnTo>
                      <a:lnTo>
                        <a:pt x="1079" y="411"/>
                      </a:lnTo>
                      <a:lnTo>
                        <a:pt x="1118" y="424"/>
                      </a:lnTo>
                      <a:lnTo>
                        <a:pt x="1153" y="444"/>
                      </a:lnTo>
                      <a:lnTo>
                        <a:pt x="1185" y="470"/>
                      </a:lnTo>
                      <a:lnTo>
                        <a:pt x="1304" y="589"/>
                      </a:lnTo>
                      <a:lnTo>
                        <a:pt x="1414" y="531"/>
                      </a:lnTo>
                      <a:lnTo>
                        <a:pt x="1527" y="480"/>
                      </a:lnTo>
                      <a:lnTo>
                        <a:pt x="1644" y="435"/>
                      </a:lnTo>
                      <a:lnTo>
                        <a:pt x="1763" y="400"/>
                      </a:lnTo>
                      <a:lnTo>
                        <a:pt x="1763" y="232"/>
                      </a:lnTo>
                      <a:lnTo>
                        <a:pt x="1766" y="189"/>
                      </a:lnTo>
                      <a:lnTo>
                        <a:pt x="1777" y="151"/>
                      </a:lnTo>
                      <a:lnTo>
                        <a:pt x="1794" y="114"/>
                      </a:lnTo>
                      <a:lnTo>
                        <a:pt x="1817" y="82"/>
                      </a:lnTo>
                      <a:lnTo>
                        <a:pt x="1846" y="54"/>
                      </a:lnTo>
                      <a:lnTo>
                        <a:pt x="1877" y="31"/>
                      </a:lnTo>
                      <a:lnTo>
                        <a:pt x="1915" y="14"/>
                      </a:lnTo>
                      <a:lnTo>
                        <a:pt x="1953" y="3"/>
                      </a:lnTo>
                      <a:lnTo>
                        <a:pt x="1996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35" name="Freeform 74">
                  <a:extLst>
                    <a:ext uri="{FF2B5EF4-FFF2-40B4-BE49-F238E27FC236}">
                      <a16:creationId xmlns:a16="http://schemas.microsoft.com/office/drawing/2014/main" id="{00540917-F911-91B2-4419-FF7EF108E5B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87338" y="2876551"/>
                  <a:ext cx="1331913" cy="1325563"/>
                </a:xfrm>
                <a:custGeom>
                  <a:avLst/>
                  <a:gdLst>
                    <a:gd name="T0" fmla="*/ 761 w 1678"/>
                    <a:gd name="T1" fmla="*/ 170 h 1669"/>
                    <a:gd name="T2" fmla="*/ 613 w 1678"/>
                    <a:gd name="T3" fmla="*/ 206 h 1669"/>
                    <a:gd name="T4" fmla="*/ 479 w 1678"/>
                    <a:gd name="T5" fmla="*/ 270 h 1669"/>
                    <a:gd name="T6" fmla="*/ 364 w 1678"/>
                    <a:gd name="T7" fmla="*/ 363 h 1669"/>
                    <a:gd name="T8" fmla="*/ 271 w 1678"/>
                    <a:gd name="T9" fmla="*/ 476 h 1669"/>
                    <a:gd name="T10" fmla="*/ 207 w 1678"/>
                    <a:gd name="T11" fmla="*/ 610 h 1669"/>
                    <a:gd name="T12" fmla="*/ 171 w 1678"/>
                    <a:gd name="T13" fmla="*/ 757 h 1669"/>
                    <a:gd name="T14" fmla="*/ 171 w 1678"/>
                    <a:gd name="T15" fmla="*/ 912 h 1669"/>
                    <a:gd name="T16" fmla="*/ 207 w 1678"/>
                    <a:gd name="T17" fmla="*/ 1060 h 1669"/>
                    <a:gd name="T18" fmla="*/ 271 w 1678"/>
                    <a:gd name="T19" fmla="*/ 1192 h 1669"/>
                    <a:gd name="T20" fmla="*/ 364 w 1678"/>
                    <a:gd name="T21" fmla="*/ 1306 h 1669"/>
                    <a:gd name="T22" fmla="*/ 479 w 1678"/>
                    <a:gd name="T23" fmla="*/ 1399 h 1669"/>
                    <a:gd name="T24" fmla="*/ 613 w 1678"/>
                    <a:gd name="T25" fmla="*/ 1464 h 1669"/>
                    <a:gd name="T26" fmla="*/ 761 w 1678"/>
                    <a:gd name="T27" fmla="*/ 1498 h 1669"/>
                    <a:gd name="T28" fmla="*/ 917 w 1678"/>
                    <a:gd name="T29" fmla="*/ 1498 h 1669"/>
                    <a:gd name="T30" fmla="*/ 1066 w 1678"/>
                    <a:gd name="T31" fmla="*/ 1464 h 1669"/>
                    <a:gd name="T32" fmla="*/ 1199 w 1678"/>
                    <a:gd name="T33" fmla="*/ 1399 h 1669"/>
                    <a:gd name="T34" fmla="*/ 1313 w 1678"/>
                    <a:gd name="T35" fmla="*/ 1306 h 1669"/>
                    <a:gd name="T36" fmla="*/ 1406 w 1678"/>
                    <a:gd name="T37" fmla="*/ 1192 h 1669"/>
                    <a:gd name="T38" fmla="*/ 1472 w 1678"/>
                    <a:gd name="T39" fmla="*/ 1060 h 1669"/>
                    <a:gd name="T40" fmla="*/ 1506 w 1678"/>
                    <a:gd name="T41" fmla="*/ 912 h 1669"/>
                    <a:gd name="T42" fmla="*/ 1506 w 1678"/>
                    <a:gd name="T43" fmla="*/ 757 h 1669"/>
                    <a:gd name="T44" fmla="*/ 1472 w 1678"/>
                    <a:gd name="T45" fmla="*/ 610 h 1669"/>
                    <a:gd name="T46" fmla="*/ 1406 w 1678"/>
                    <a:gd name="T47" fmla="*/ 476 h 1669"/>
                    <a:gd name="T48" fmla="*/ 1313 w 1678"/>
                    <a:gd name="T49" fmla="*/ 363 h 1669"/>
                    <a:gd name="T50" fmla="*/ 1199 w 1678"/>
                    <a:gd name="T51" fmla="*/ 270 h 1669"/>
                    <a:gd name="T52" fmla="*/ 1066 w 1678"/>
                    <a:gd name="T53" fmla="*/ 206 h 1669"/>
                    <a:gd name="T54" fmla="*/ 917 w 1678"/>
                    <a:gd name="T55" fmla="*/ 170 h 1669"/>
                    <a:gd name="T56" fmla="*/ 840 w 1678"/>
                    <a:gd name="T57" fmla="*/ 0 h 1669"/>
                    <a:gd name="T58" fmla="*/ 1008 w 1678"/>
                    <a:gd name="T59" fmla="*/ 17 h 1669"/>
                    <a:gd name="T60" fmla="*/ 1166 w 1678"/>
                    <a:gd name="T61" fmla="*/ 65 h 1669"/>
                    <a:gd name="T62" fmla="*/ 1309 w 1678"/>
                    <a:gd name="T63" fmla="*/ 142 h 1669"/>
                    <a:gd name="T64" fmla="*/ 1432 w 1678"/>
                    <a:gd name="T65" fmla="*/ 244 h 1669"/>
                    <a:gd name="T66" fmla="*/ 1535 w 1678"/>
                    <a:gd name="T67" fmla="*/ 368 h 1669"/>
                    <a:gd name="T68" fmla="*/ 1612 w 1678"/>
                    <a:gd name="T69" fmla="*/ 511 h 1669"/>
                    <a:gd name="T70" fmla="*/ 1662 w 1678"/>
                    <a:gd name="T71" fmla="*/ 667 h 1669"/>
                    <a:gd name="T72" fmla="*/ 1678 w 1678"/>
                    <a:gd name="T73" fmla="*/ 835 h 1669"/>
                    <a:gd name="T74" fmla="*/ 1662 w 1678"/>
                    <a:gd name="T75" fmla="*/ 1003 h 1669"/>
                    <a:gd name="T76" fmla="*/ 1612 w 1678"/>
                    <a:gd name="T77" fmla="*/ 1159 h 1669"/>
                    <a:gd name="T78" fmla="*/ 1535 w 1678"/>
                    <a:gd name="T79" fmla="*/ 1302 h 1669"/>
                    <a:gd name="T80" fmla="*/ 1432 w 1678"/>
                    <a:gd name="T81" fmla="*/ 1424 h 1669"/>
                    <a:gd name="T82" fmla="*/ 1309 w 1678"/>
                    <a:gd name="T83" fmla="*/ 1527 h 1669"/>
                    <a:gd name="T84" fmla="*/ 1166 w 1678"/>
                    <a:gd name="T85" fmla="*/ 1603 h 1669"/>
                    <a:gd name="T86" fmla="*/ 1008 w 1678"/>
                    <a:gd name="T87" fmla="*/ 1653 h 1669"/>
                    <a:gd name="T88" fmla="*/ 840 w 1678"/>
                    <a:gd name="T89" fmla="*/ 1669 h 1669"/>
                    <a:gd name="T90" fmla="*/ 671 w 1678"/>
                    <a:gd name="T91" fmla="*/ 1653 h 1669"/>
                    <a:gd name="T92" fmla="*/ 513 w 1678"/>
                    <a:gd name="T93" fmla="*/ 1603 h 1669"/>
                    <a:gd name="T94" fmla="*/ 370 w 1678"/>
                    <a:gd name="T95" fmla="*/ 1527 h 1669"/>
                    <a:gd name="T96" fmla="*/ 246 w 1678"/>
                    <a:gd name="T97" fmla="*/ 1424 h 1669"/>
                    <a:gd name="T98" fmla="*/ 143 w 1678"/>
                    <a:gd name="T99" fmla="*/ 1302 h 1669"/>
                    <a:gd name="T100" fmla="*/ 65 w 1678"/>
                    <a:gd name="T101" fmla="*/ 1159 h 1669"/>
                    <a:gd name="T102" fmla="*/ 17 w 1678"/>
                    <a:gd name="T103" fmla="*/ 1003 h 1669"/>
                    <a:gd name="T104" fmla="*/ 0 w 1678"/>
                    <a:gd name="T105" fmla="*/ 835 h 1669"/>
                    <a:gd name="T106" fmla="*/ 17 w 1678"/>
                    <a:gd name="T107" fmla="*/ 667 h 1669"/>
                    <a:gd name="T108" fmla="*/ 65 w 1678"/>
                    <a:gd name="T109" fmla="*/ 511 h 1669"/>
                    <a:gd name="T110" fmla="*/ 143 w 1678"/>
                    <a:gd name="T111" fmla="*/ 368 h 1669"/>
                    <a:gd name="T112" fmla="*/ 246 w 1678"/>
                    <a:gd name="T113" fmla="*/ 244 h 1669"/>
                    <a:gd name="T114" fmla="*/ 370 w 1678"/>
                    <a:gd name="T115" fmla="*/ 142 h 1669"/>
                    <a:gd name="T116" fmla="*/ 513 w 1678"/>
                    <a:gd name="T117" fmla="*/ 65 h 1669"/>
                    <a:gd name="T118" fmla="*/ 671 w 1678"/>
                    <a:gd name="T119" fmla="*/ 17 h 1669"/>
                    <a:gd name="T120" fmla="*/ 840 w 1678"/>
                    <a:gd name="T121" fmla="*/ 0 h 1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678" h="1669">
                      <a:moveTo>
                        <a:pt x="840" y="166"/>
                      </a:moveTo>
                      <a:lnTo>
                        <a:pt x="761" y="170"/>
                      </a:lnTo>
                      <a:lnTo>
                        <a:pt x="685" y="185"/>
                      </a:lnTo>
                      <a:lnTo>
                        <a:pt x="613" y="206"/>
                      </a:lnTo>
                      <a:lnTo>
                        <a:pt x="543" y="235"/>
                      </a:lnTo>
                      <a:lnTo>
                        <a:pt x="479" y="270"/>
                      </a:lnTo>
                      <a:lnTo>
                        <a:pt x="419" y="314"/>
                      </a:lnTo>
                      <a:lnTo>
                        <a:pt x="364" y="363"/>
                      </a:lnTo>
                      <a:lnTo>
                        <a:pt x="316" y="417"/>
                      </a:lnTo>
                      <a:lnTo>
                        <a:pt x="271" y="476"/>
                      </a:lnTo>
                      <a:lnTo>
                        <a:pt x="236" y="540"/>
                      </a:lnTo>
                      <a:lnTo>
                        <a:pt x="207" y="610"/>
                      </a:lnTo>
                      <a:lnTo>
                        <a:pt x="186" y="681"/>
                      </a:lnTo>
                      <a:lnTo>
                        <a:pt x="171" y="757"/>
                      </a:lnTo>
                      <a:lnTo>
                        <a:pt x="167" y="835"/>
                      </a:lnTo>
                      <a:lnTo>
                        <a:pt x="171" y="912"/>
                      </a:lnTo>
                      <a:lnTo>
                        <a:pt x="186" y="987"/>
                      </a:lnTo>
                      <a:lnTo>
                        <a:pt x="207" y="1060"/>
                      </a:lnTo>
                      <a:lnTo>
                        <a:pt x="236" y="1128"/>
                      </a:lnTo>
                      <a:lnTo>
                        <a:pt x="271" y="1192"/>
                      </a:lnTo>
                      <a:lnTo>
                        <a:pt x="316" y="1252"/>
                      </a:lnTo>
                      <a:lnTo>
                        <a:pt x="364" y="1306"/>
                      </a:lnTo>
                      <a:lnTo>
                        <a:pt x="419" y="1356"/>
                      </a:lnTo>
                      <a:lnTo>
                        <a:pt x="479" y="1399"/>
                      </a:lnTo>
                      <a:lnTo>
                        <a:pt x="543" y="1434"/>
                      </a:lnTo>
                      <a:lnTo>
                        <a:pt x="613" y="1464"/>
                      </a:lnTo>
                      <a:lnTo>
                        <a:pt x="685" y="1485"/>
                      </a:lnTo>
                      <a:lnTo>
                        <a:pt x="761" y="1498"/>
                      </a:lnTo>
                      <a:lnTo>
                        <a:pt x="840" y="1502"/>
                      </a:lnTo>
                      <a:lnTo>
                        <a:pt x="917" y="1498"/>
                      </a:lnTo>
                      <a:lnTo>
                        <a:pt x="993" y="1485"/>
                      </a:lnTo>
                      <a:lnTo>
                        <a:pt x="1066" y="1464"/>
                      </a:lnTo>
                      <a:lnTo>
                        <a:pt x="1134" y="1434"/>
                      </a:lnTo>
                      <a:lnTo>
                        <a:pt x="1199" y="1399"/>
                      </a:lnTo>
                      <a:lnTo>
                        <a:pt x="1259" y="1356"/>
                      </a:lnTo>
                      <a:lnTo>
                        <a:pt x="1313" y="1306"/>
                      </a:lnTo>
                      <a:lnTo>
                        <a:pt x="1363" y="1252"/>
                      </a:lnTo>
                      <a:lnTo>
                        <a:pt x="1406" y="1192"/>
                      </a:lnTo>
                      <a:lnTo>
                        <a:pt x="1442" y="1128"/>
                      </a:lnTo>
                      <a:lnTo>
                        <a:pt x="1472" y="1060"/>
                      </a:lnTo>
                      <a:lnTo>
                        <a:pt x="1493" y="987"/>
                      </a:lnTo>
                      <a:lnTo>
                        <a:pt x="1506" y="912"/>
                      </a:lnTo>
                      <a:lnTo>
                        <a:pt x="1511" y="835"/>
                      </a:lnTo>
                      <a:lnTo>
                        <a:pt x="1506" y="757"/>
                      </a:lnTo>
                      <a:lnTo>
                        <a:pt x="1493" y="681"/>
                      </a:lnTo>
                      <a:lnTo>
                        <a:pt x="1472" y="610"/>
                      </a:lnTo>
                      <a:lnTo>
                        <a:pt x="1442" y="540"/>
                      </a:lnTo>
                      <a:lnTo>
                        <a:pt x="1406" y="476"/>
                      </a:lnTo>
                      <a:lnTo>
                        <a:pt x="1363" y="417"/>
                      </a:lnTo>
                      <a:lnTo>
                        <a:pt x="1313" y="363"/>
                      </a:lnTo>
                      <a:lnTo>
                        <a:pt x="1259" y="314"/>
                      </a:lnTo>
                      <a:lnTo>
                        <a:pt x="1199" y="270"/>
                      </a:lnTo>
                      <a:lnTo>
                        <a:pt x="1134" y="235"/>
                      </a:lnTo>
                      <a:lnTo>
                        <a:pt x="1066" y="206"/>
                      </a:lnTo>
                      <a:lnTo>
                        <a:pt x="993" y="185"/>
                      </a:lnTo>
                      <a:lnTo>
                        <a:pt x="917" y="170"/>
                      </a:lnTo>
                      <a:lnTo>
                        <a:pt x="840" y="166"/>
                      </a:lnTo>
                      <a:close/>
                      <a:moveTo>
                        <a:pt x="840" y="0"/>
                      </a:moveTo>
                      <a:lnTo>
                        <a:pt x="925" y="4"/>
                      </a:lnTo>
                      <a:lnTo>
                        <a:pt x="1008" y="17"/>
                      </a:lnTo>
                      <a:lnTo>
                        <a:pt x="1088" y="38"/>
                      </a:lnTo>
                      <a:lnTo>
                        <a:pt x="1166" y="65"/>
                      </a:lnTo>
                      <a:lnTo>
                        <a:pt x="1239" y="101"/>
                      </a:lnTo>
                      <a:lnTo>
                        <a:pt x="1309" y="142"/>
                      </a:lnTo>
                      <a:lnTo>
                        <a:pt x="1373" y="190"/>
                      </a:lnTo>
                      <a:lnTo>
                        <a:pt x="1432" y="244"/>
                      </a:lnTo>
                      <a:lnTo>
                        <a:pt x="1486" y="304"/>
                      </a:lnTo>
                      <a:lnTo>
                        <a:pt x="1535" y="368"/>
                      </a:lnTo>
                      <a:lnTo>
                        <a:pt x="1578" y="437"/>
                      </a:lnTo>
                      <a:lnTo>
                        <a:pt x="1612" y="511"/>
                      </a:lnTo>
                      <a:lnTo>
                        <a:pt x="1641" y="586"/>
                      </a:lnTo>
                      <a:lnTo>
                        <a:pt x="1662" y="667"/>
                      </a:lnTo>
                      <a:lnTo>
                        <a:pt x="1674" y="750"/>
                      </a:lnTo>
                      <a:lnTo>
                        <a:pt x="1678" y="835"/>
                      </a:lnTo>
                      <a:lnTo>
                        <a:pt x="1674" y="920"/>
                      </a:lnTo>
                      <a:lnTo>
                        <a:pt x="1662" y="1003"/>
                      </a:lnTo>
                      <a:lnTo>
                        <a:pt x="1641" y="1083"/>
                      </a:lnTo>
                      <a:lnTo>
                        <a:pt x="1612" y="1159"/>
                      </a:lnTo>
                      <a:lnTo>
                        <a:pt x="1578" y="1232"/>
                      </a:lnTo>
                      <a:lnTo>
                        <a:pt x="1535" y="1302"/>
                      </a:lnTo>
                      <a:lnTo>
                        <a:pt x="1486" y="1366"/>
                      </a:lnTo>
                      <a:lnTo>
                        <a:pt x="1432" y="1424"/>
                      </a:lnTo>
                      <a:lnTo>
                        <a:pt x="1373" y="1478"/>
                      </a:lnTo>
                      <a:lnTo>
                        <a:pt x="1309" y="1527"/>
                      </a:lnTo>
                      <a:lnTo>
                        <a:pt x="1239" y="1569"/>
                      </a:lnTo>
                      <a:lnTo>
                        <a:pt x="1166" y="1603"/>
                      </a:lnTo>
                      <a:lnTo>
                        <a:pt x="1088" y="1632"/>
                      </a:lnTo>
                      <a:lnTo>
                        <a:pt x="1008" y="1653"/>
                      </a:lnTo>
                      <a:lnTo>
                        <a:pt x="925" y="1665"/>
                      </a:lnTo>
                      <a:lnTo>
                        <a:pt x="840" y="1669"/>
                      </a:lnTo>
                      <a:lnTo>
                        <a:pt x="754" y="1665"/>
                      </a:lnTo>
                      <a:lnTo>
                        <a:pt x="671" y="1653"/>
                      </a:lnTo>
                      <a:lnTo>
                        <a:pt x="589" y="1632"/>
                      </a:lnTo>
                      <a:lnTo>
                        <a:pt x="513" y="1603"/>
                      </a:lnTo>
                      <a:lnTo>
                        <a:pt x="439" y="1569"/>
                      </a:lnTo>
                      <a:lnTo>
                        <a:pt x="370" y="1527"/>
                      </a:lnTo>
                      <a:lnTo>
                        <a:pt x="306" y="1478"/>
                      </a:lnTo>
                      <a:lnTo>
                        <a:pt x="246" y="1424"/>
                      </a:lnTo>
                      <a:lnTo>
                        <a:pt x="191" y="1366"/>
                      </a:lnTo>
                      <a:lnTo>
                        <a:pt x="143" y="1302"/>
                      </a:lnTo>
                      <a:lnTo>
                        <a:pt x="101" y="1232"/>
                      </a:lnTo>
                      <a:lnTo>
                        <a:pt x="65" y="1159"/>
                      </a:lnTo>
                      <a:lnTo>
                        <a:pt x="38" y="1083"/>
                      </a:lnTo>
                      <a:lnTo>
                        <a:pt x="17" y="1003"/>
                      </a:lnTo>
                      <a:lnTo>
                        <a:pt x="4" y="920"/>
                      </a:lnTo>
                      <a:lnTo>
                        <a:pt x="0" y="835"/>
                      </a:lnTo>
                      <a:lnTo>
                        <a:pt x="4" y="750"/>
                      </a:lnTo>
                      <a:lnTo>
                        <a:pt x="17" y="667"/>
                      </a:lnTo>
                      <a:lnTo>
                        <a:pt x="38" y="586"/>
                      </a:lnTo>
                      <a:lnTo>
                        <a:pt x="65" y="511"/>
                      </a:lnTo>
                      <a:lnTo>
                        <a:pt x="101" y="437"/>
                      </a:lnTo>
                      <a:lnTo>
                        <a:pt x="143" y="368"/>
                      </a:lnTo>
                      <a:lnTo>
                        <a:pt x="191" y="304"/>
                      </a:lnTo>
                      <a:lnTo>
                        <a:pt x="246" y="244"/>
                      </a:lnTo>
                      <a:lnTo>
                        <a:pt x="306" y="190"/>
                      </a:lnTo>
                      <a:lnTo>
                        <a:pt x="370" y="142"/>
                      </a:lnTo>
                      <a:lnTo>
                        <a:pt x="439" y="101"/>
                      </a:lnTo>
                      <a:lnTo>
                        <a:pt x="513" y="65"/>
                      </a:lnTo>
                      <a:lnTo>
                        <a:pt x="589" y="38"/>
                      </a:lnTo>
                      <a:lnTo>
                        <a:pt x="671" y="17"/>
                      </a:lnTo>
                      <a:lnTo>
                        <a:pt x="754" y="4"/>
                      </a:lnTo>
                      <a:lnTo>
                        <a:pt x="840" y="0"/>
                      </a:lnTo>
                      <a:close/>
                    </a:path>
                  </a:pathLst>
                </a:custGeom>
                <a:grpFill/>
                <a:ln w="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A4E15AE-6F5D-F178-BEA4-FF49C97428E6}"/>
                </a:ext>
              </a:extLst>
            </p:cNvPr>
            <p:cNvSpPr txBox="1"/>
            <p:nvPr/>
          </p:nvSpPr>
          <p:spPr>
            <a:xfrm>
              <a:off x="2088640" y="5460522"/>
              <a:ext cx="272731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Network Testing </a:t>
              </a:r>
            </a:p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&amp; </a:t>
              </a:r>
            </a:p>
            <a:p>
              <a:pPr algn="ctr" defTabSz="1218987"/>
              <a:r>
                <a:rPr lang="en-GB" sz="1100" b="1" dirty="0">
                  <a:latin typeface="Montserrat" panose="00000500000000000000" pitchFamily="50" charset="0"/>
                  <a:cs typeface="Arial" pitchFamily="34" charset="0"/>
                </a:rPr>
                <a:t>Verification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1709B2C-33EE-1335-998F-BA7077C7D299}"/>
                </a:ext>
              </a:extLst>
            </p:cNvPr>
            <p:cNvGrpSpPr/>
            <p:nvPr/>
          </p:nvGrpSpPr>
          <p:grpSpPr>
            <a:xfrm>
              <a:off x="7045536" y="2390781"/>
              <a:ext cx="3824172" cy="1100355"/>
              <a:chOff x="9602028" y="2152678"/>
              <a:chExt cx="3824172" cy="1100355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F646284-3815-45E4-54C1-F9B364DAB1C8}"/>
                  </a:ext>
                </a:extLst>
              </p:cNvPr>
              <p:cNvSpPr txBox="1"/>
              <p:nvPr/>
            </p:nvSpPr>
            <p:spPr>
              <a:xfrm>
                <a:off x="10698889" y="2178265"/>
                <a:ext cx="2727311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87"/>
                <a:r>
                  <a:rPr lang="en-IN" sz="1100" b="1" dirty="0">
                    <a:latin typeface="Montserrat" panose="00000500000000000000" pitchFamily="50" charset="0"/>
                    <a:cs typeface="Arial" pitchFamily="34" charset="0"/>
                  </a:rPr>
                  <a:t>Broadband &amp; Fiber</a:t>
                </a:r>
              </a:p>
            </p:txBody>
          </p:sp>
          <p:sp>
            <p:nvSpPr>
              <p:cNvPr id="29" name="Freeform 15">
                <a:extLst>
                  <a:ext uri="{FF2B5EF4-FFF2-40B4-BE49-F238E27FC236}">
                    <a16:creationId xmlns:a16="http://schemas.microsoft.com/office/drawing/2014/main" id="{E21149CC-1562-803D-84F9-99D334487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2028" y="2152678"/>
                <a:ext cx="1124544" cy="1100355"/>
              </a:xfrm>
              <a:custGeom>
                <a:avLst/>
                <a:gdLst>
                  <a:gd name="T0" fmla="*/ 500 w 952"/>
                  <a:gd name="T1" fmla="*/ 0 h 955"/>
                  <a:gd name="T2" fmla="*/ 552 w 952"/>
                  <a:gd name="T3" fmla="*/ 5 h 955"/>
                  <a:gd name="T4" fmla="*/ 603 w 952"/>
                  <a:gd name="T5" fmla="*/ 17 h 955"/>
                  <a:gd name="T6" fmla="*/ 653 w 952"/>
                  <a:gd name="T7" fmla="*/ 34 h 955"/>
                  <a:gd name="T8" fmla="*/ 700 w 952"/>
                  <a:gd name="T9" fmla="*/ 55 h 955"/>
                  <a:gd name="T10" fmla="*/ 746 w 952"/>
                  <a:gd name="T11" fmla="*/ 83 h 955"/>
                  <a:gd name="T12" fmla="*/ 788 w 952"/>
                  <a:gd name="T13" fmla="*/ 115 h 955"/>
                  <a:gd name="T14" fmla="*/ 827 w 952"/>
                  <a:gd name="T15" fmla="*/ 152 h 955"/>
                  <a:gd name="T16" fmla="*/ 861 w 952"/>
                  <a:gd name="T17" fmla="*/ 195 h 955"/>
                  <a:gd name="T18" fmla="*/ 891 w 952"/>
                  <a:gd name="T19" fmla="*/ 241 h 955"/>
                  <a:gd name="T20" fmla="*/ 916 w 952"/>
                  <a:gd name="T21" fmla="*/ 292 h 955"/>
                  <a:gd name="T22" fmla="*/ 934 w 952"/>
                  <a:gd name="T23" fmla="*/ 343 h 955"/>
                  <a:gd name="T24" fmla="*/ 947 w 952"/>
                  <a:gd name="T25" fmla="*/ 396 h 955"/>
                  <a:gd name="T26" fmla="*/ 952 w 952"/>
                  <a:gd name="T27" fmla="*/ 448 h 955"/>
                  <a:gd name="T28" fmla="*/ 952 w 952"/>
                  <a:gd name="T29" fmla="*/ 500 h 955"/>
                  <a:gd name="T30" fmla="*/ 947 w 952"/>
                  <a:gd name="T31" fmla="*/ 553 h 955"/>
                  <a:gd name="T32" fmla="*/ 937 w 952"/>
                  <a:gd name="T33" fmla="*/ 604 h 955"/>
                  <a:gd name="T34" fmla="*/ 920 w 952"/>
                  <a:gd name="T35" fmla="*/ 653 h 955"/>
                  <a:gd name="T36" fmla="*/ 897 w 952"/>
                  <a:gd name="T37" fmla="*/ 702 h 955"/>
                  <a:gd name="T38" fmla="*/ 870 w 952"/>
                  <a:gd name="T39" fmla="*/ 746 h 955"/>
                  <a:gd name="T40" fmla="*/ 839 w 952"/>
                  <a:gd name="T41" fmla="*/ 788 h 955"/>
                  <a:gd name="T42" fmla="*/ 801 w 952"/>
                  <a:gd name="T43" fmla="*/ 828 h 955"/>
                  <a:gd name="T44" fmla="*/ 759 w 952"/>
                  <a:gd name="T45" fmla="*/ 862 h 955"/>
                  <a:gd name="T46" fmla="*/ 712 w 952"/>
                  <a:gd name="T47" fmla="*/ 893 h 955"/>
                  <a:gd name="T48" fmla="*/ 662 w 952"/>
                  <a:gd name="T49" fmla="*/ 917 h 955"/>
                  <a:gd name="T50" fmla="*/ 611 w 952"/>
                  <a:gd name="T51" fmla="*/ 935 h 955"/>
                  <a:gd name="T52" fmla="*/ 559 w 952"/>
                  <a:gd name="T53" fmla="*/ 948 h 955"/>
                  <a:gd name="T54" fmla="*/ 505 w 952"/>
                  <a:gd name="T55" fmla="*/ 953 h 955"/>
                  <a:gd name="T56" fmla="*/ 453 w 952"/>
                  <a:gd name="T57" fmla="*/ 955 h 955"/>
                  <a:gd name="T58" fmla="*/ 400 w 952"/>
                  <a:gd name="T59" fmla="*/ 948 h 955"/>
                  <a:gd name="T60" fmla="*/ 349 w 952"/>
                  <a:gd name="T61" fmla="*/ 938 h 955"/>
                  <a:gd name="T62" fmla="*/ 300 w 952"/>
                  <a:gd name="T63" fmla="*/ 921 h 955"/>
                  <a:gd name="T64" fmla="*/ 252 w 952"/>
                  <a:gd name="T65" fmla="*/ 898 h 955"/>
                  <a:gd name="T66" fmla="*/ 207 w 952"/>
                  <a:gd name="T67" fmla="*/ 872 h 955"/>
                  <a:gd name="T68" fmla="*/ 165 w 952"/>
                  <a:gd name="T69" fmla="*/ 839 h 955"/>
                  <a:gd name="T70" fmla="*/ 127 w 952"/>
                  <a:gd name="T71" fmla="*/ 801 h 955"/>
                  <a:gd name="T72" fmla="*/ 91 w 952"/>
                  <a:gd name="T73" fmla="*/ 760 h 955"/>
                  <a:gd name="T74" fmla="*/ 61 w 952"/>
                  <a:gd name="T75" fmla="*/ 712 h 955"/>
                  <a:gd name="T76" fmla="*/ 37 w 952"/>
                  <a:gd name="T77" fmla="*/ 663 h 955"/>
                  <a:gd name="T78" fmla="*/ 18 w 952"/>
                  <a:gd name="T79" fmla="*/ 612 h 955"/>
                  <a:gd name="T80" fmla="*/ 6 w 952"/>
                  <a:gd name="T81" fmla="*/ 559 h 955"/>
                  <a:gd name="T82" fmla="*/ 0 w 952"/>
                  <a:gd name="T83" fmla="*/ 507 h 955"/>
                  <a:gd name="T84" fmla="*/ 0 w 952"/>
                  <a:gd name="T85" fmla="*/ 453 h 955"/>
                  <a:gd name="T86" fmla="*/ 5 w 952"/>
                  <a:gd name="T87" fmla="*/ 402 h 955"/>
                  <a:gd name="T88" fmla="*/ 17 w 952"/>
                  <a:gd name="T89" fmla="*/ 350 h 955"/>
                  <a:gd name="T90" fmla="*/ 33 w 952"/>
                  <a:gd name="T91" fmla="*/ 301 h 955"/>
                  <a:gd name="T92" fmla="*/ 55 w 952"/>
                  <a:gd name="T93" fmla="*/ 253 h 955"/>
                  <a:gd name="T94" fmla="*/ 82 w 952"/>
                  <a:gd name="T95" fmla="*/ 208 h 955"/>
                  <a:gd name="T96" fmla="*/ 115 w 952"/>
                  <a:gd name="T97" fmla="*/ 165 h 955"/>
                  <a:gd name="T98" fmla="*/ 152 w 952"/>
                  <a:gd name="T99" fmla="*/ 127 h 955"/>
                  <a:gd name="T100" fmla="*/ 194 w 952"/>
                  <a:gd name="T101" fmla="*/ 92 h 955"/>
                  <a:gd name="T102" fmla="*/ 241 w 952"/>
                  <a:gd name="T103" fmla="*/ 62 h 955"/>
                  <a:gd name="T104" fmla="*/ 290 w 952"/>
                  <a:gd name="T105" fmla="*/ 37 h 955"/>
                  <a:gd name="T106" fmla="*/ 343 w 952"/>
                  <a:gd name="T107" fmla="*/ 19 h 955"/>
                  <a:gd name="T108" fmla="*/ 395 w 952"/>
                  <a:gd name="T109" fmla="*/ 7 h 955"/>
                  <a:gd name="T110" fmla="*/ 447 w 952"/>
                  <a:gd name="T111" fmla="*/ 0 h 955"/>
                  <a:gd name="T112" fmla="*/ 500 w 952"/>
                  <a:gd name="T113" fmla="*/ 0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52" h="955">
                    <a:moveTo>
                      <a:pt x="500" y="0"/>
                    </a:moveTo>
                    <a:lnTo>
                      <a:pt x="552" y="5"/>
                    </a:lnTo>
                    <a:lnTo>
                      <a:pt x="603" y="17"/>
                    </a:lnTo>
                    <a:lnTo>
                      <a:pt x="653" y="34"/>
                    </a:lnTo>
                    <a:lnTo>
                      <a:pt x="700" y="55"/>
                    </a:lnTo>
                    <a:lnTo>
                      <a:pt x="746" y="83"/>
                    </a:lnTo>
                    <a:lnTo>
                      <a:pt x="788" y="115"/>
                    </a:lnTo>
                    <a:lnTo>
                      <a:pt x="827" y="152"/>
                    </a:lnTo>
                    <a:lnTo>
                      <a:pt x="861" y="195"/>
                    </a:lnTo>
                    <a:lnTo>
                      <a:pt x="891" y="241"/>
                    </a:lnTo>
                    <a:lnTo>
                      <a:pt x="916" y="292"/>
                    </a:lnTo>
                    <a:lnTo>
                      <a:pt x="934" y="343"/>
                    </a:lnTo>
                    <a:lnTo>
                      <a:pt x="947" y="396"/>
                    </a:lnTo>
                    <a:lnTo>
                      <a:pt x="952" y="448"/>
                    </a:lnTo>
                    <a:lnTo>
                      <a:pt x="952" y="500"/>
                    </a:lnTo>
                    <a:lnTo>
                      <a:pt x="947" y="553"/>
                    </a:lnTo>
                    <a:lnTo>
                      <a:pt x="937" y="604"/>
                    </a:lnTo>
                    <a:lnTo>
                      <a:pt x="920" y="653"/>
                    </a:lnTo>
                    <a:lnTo>
                      <a:pt x="897" y="702"/>
                    </a:lnTo>
                    <a:lnTo>
                      <a:pt x="870" y="746"/>
                    </a:lnTo>
                    <a:lnTo>
                      <a:pt x="839" y="788"/>
                    </a:lnTo>
                    <a:lnTo>
                      <a:pt x="801" y="828"/>
                    </a:lnTo>
                    <a:lnTo>
                      <a:pt x="759" y="862"/>
                    </a:lnTo>
                    <a:lnTo>
                      <a:pt x="712" y="893"/>
                    </a:lnTo>
                    <a:lnTo>
                      <a:pt x="662" y="917"/>
                    </a:lnTo>
                    <a:lnTo>
                      <a:pt x="611" y="935"/>
                    </a:lnTo>
                    <a:lnTo>
                      <a:pt x="559" y="948"/>
                    </a:lnTo>
                    <a:lnTo>
                      <a:pt x="505" y="953"/>
                    </a:lnTo>
                    <a:lnTo>
                      <a:pt x="453" y="955"/>
                    </a:lnTo>
                    <a:lnTo>
                      <a:pt x="400" y="948"/>
                    </a:lnTo>
                    <a:lnTo>
                      <a:pt x="349" y="938"/>
                    </a:lnTo>
                    <a:lnTo>
                      <a:pt x="300" y="921"/>
                    </a:lnTo>
                    <a:lnTo>
                      <a:pt x="252" y="898"/>
                    </a:lnTo>
                    <a:lnTo>
                      <a:pt x="207" y="872"/>
                    </a:lnTo>
                    <a:lnTo>
                      <a:pt x="165" y="839"/>
                    </a:lnTo>
                    <a:lnTo>
                      <a:pt x="127" y="801"/>
                    </a:lnTo>
                    <a:lnTo>
                      <a:pt x="91" y="760"/>
                    </a:lnTo>
                    <a:lnTo>
                      <a:pt x="61" y="712"/>
                    </a:lnTo>
                    <a:lnTo>
                      <a:pt x="37" y="663"/>
                    </a:lnTo>
                    <a:lnTo>
                      <a:pt x="18" y="612"/>
                    </a:lnTo>
                    <a:lnTo>
                      <a:pt x="6" y="559"/>
                    </a:lnTo>
                    <a:lnTo>
                      <a:pt x="0" y="507"/>
                    </a:lnTo>
                    <a:lnTo>
                      <a:pt x="0" y="453"/>
                    </a:lnTo>
                    <a:lnTo>
                      <a:pt x="5" y="402"/>
                    </a:lnTo>
                    <a:lnTo>
                      <a:pt x="17" y="350"/>
                    </a:lnTo>
                    <a:lnTo>
                      <a:pt x="33" y="301"/>
                    </a:lnTo>
                    <a:lnTo>
                      <a:pt x="55" y="253"/>
                    </a:lnTo>
                    <a:lnTo>
                      <a:pt x="82" y="208"/>
                    </a:lnTo>
                    <a:lnTo>
                      <a:pt x="115" y="165"/>
                    </a:lnTo>
                    <a:lnTo>
                      <a:pt x="152" y="127"/>
                    </a:lnTo>
                    <a:lnTo>
                      <a:pt x="194" y="92"/>
                    </a:lnTo>
                    <a:lnTo>
                      <a:pt x="241" y="62"/>
                    </a:lnTo>
                    <a:lnTo>
                      <a:pt x="290" y="37"/>
                    </a:lnTo>
                    <a:lnTo>
                      <a:pt x="343" y="19"/>
                    </a:lnTo>
                    <a:lnTo>
                      <a:pt x="395" y="7"/>
                    </a:lnTo>
                    <a:lnTo>
                      <a:pt x="447" y="0"/>
                    </a:lnTo>
                    <a:lnTo>
                      <a:pt x="500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pic>
            <p:nvPicPr>
              <p:cNvPr id="30" name="Graphic 29" descr="Workflow outline">
                <a:extLst>
                  <a:ext uri="{FF2B5EF4-FFF2-40B4-BE49-F238E27FC236}">
                    <a16:creationId xmlns:a16="http://schemas.microsoft.com/office/drawing/2014/main" id="{F4A9D206-70F9-FE40-B872-FBE9E01A38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760060" y="2298614"/>
                <a:ext cx="808481" cy="80848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1044150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3479FBE-22D9-2788-069A-77BCEB625C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23579" y="177111"/>
            <a:ext cx="9670405" cy="65033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6C844-861D-CC04-D177-A29153B61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3CFFA4C-0D1C-425F-BB04-E50ADD4A39B0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0154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BAFCE7-2891-D1AA-0DCC-AC9B62D08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710354"/>
            <a:ext cx="10515600" cy="2977452"/>
          </a:xfrm>
        </p:spPr>
        <p:txBody>
          <a:bodyPr>
            <a:normAutofit/>
          </a:bodyPr>
          <a:lstStyle/>
          <a:p>
            <a:pPr marL="0" indent="0" algn="l" fontAlgn="base">
              <a:buNone/>
            </a:pPr>
            <a:endParaRPr lang="en-US" sz="1800" b="1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pPr marL="0" indent="0" algn="l" fontAlgn="base">
              <a:buNone/>
            </a:pPr>
            <a:endParaRPr lang="en-US" b="0" i="0" dirty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pPr algn="l" fontAlgn="base"/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Financing Solutions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 Tailored financing options for both </a:t>
            </a:r>
            <a:r>
              <a:rPr lang="en-US" sz="2400" b="1" i="0" dirty="0">
                <a:solidFill>
                  <a:srgbClr val="C00000"/>
                </a:solidFill>
                <a:effectLst/>
                <a:latin typeface="Aptos" panose="020B0004020202020204" pitchFamily="34" charset="0"/>
              </a:rPr>
              <a:t>services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and </a:t>
            </a:r>
            <a:r>
              <a:rPr lang="en-US" sz="2400" b="1" i="0" dirty="0">
                <a:solidFill>
                  <a:srgbClr val="C00000"/>
                </a:solidFill>
                <a:effectLst/>
                <a:latin typeface="Aptos" panose="020B0004020202020204" pitchFamily="34" charset="0"/>
              </a:rPr>
              <a:t>equipment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, enabling project execution without upfront capital constraints.</a:t>
            </a:r>
            <a:endParaRPr lang="en-US" sz="2400" b="0" i="0" dirty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pPr algn="l" fontAlgn="base"/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Comprehensive Support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 From project inception to completion, our financial services are designed to empower applicants, ensuring compliance and enhancing project viability.</a:t>
            </a:r>
            <a:endParaRPr lang="en-US" sz="2400" b="0" i="0" dirty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endParaRPr lang="en-US" dirty="0"/>
          </a:p>
        </p:txBody>
      </p:sp>
      <p:pic>
        <p:nvPicPr>
          <p:cNvPr id="4" name="Picture 2" descr="Why Partner With LEAF - Financing Products - LEAF Commercial Capital, Inc.">
            <a:extLst>
              <a:ext uri="{FF2B5EF4-FFF2-40B4-BE49-F238E27FC236}">
                <a16:creationId xmlns:a16="http://schemas.microsoft.com/office/drawing/2014/main" id="{4115D701-FFB9-4982-0034-CF6C935E5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91607" y="2371356"/>
            <a:ext cx="5808785" cy="155257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" name="Picture 4" descr="MasterHeader2.png">
            <a:extLst>
              <a:ext uri="{FF2B5EF4-FFF2-40B4-BE49-F238E27FC236}">
                <a16:creationId xmlns:a16="http://schemas.microsoft.com/office/drawing/2014/main" id="{6E4917A8-D149-CF8E-5A55-FF2F73092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16" cy="2286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A9DB97-E15A-670A-A878-49838EABA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7305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5A59F003-E00A-43F9-91DC-CC54E3B8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3B4DF4-5434-4821-2D63-4B56AE3E27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394" t="9091" r="12050"/>
          <a:stretch/>
        </p:blipFill>
        <p:spPr>
          <a:xfrm>
            <a:off x="20" y="30247"/>
            <a:ext cx="12191980" cy="685799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74A4382-E3AD-430A-9A1F-DFA3E0E77A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799865" y="-1524511"/>
            <a:ext cx="4592270" cy="12192001"/>
          </a:xfrm>
          <a:prstGeom prst="rect">
            <a:avLst/>
          </a:prstGeom>
          <a:gradFill>
            <a:gsLst>
              <a:gs pos="35000">
                <a:schemeClr val="tx1">
                  <a:alpha val="46000"/>
                </a:schemeClr>
              </a:gs>
              <a:gs pos="21000">
                <a:schemeClr val="tx1">
                  <a:alpha val="30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9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209B62-9085-CA3D-F856-B7F61BE1A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553" y="3091928"/>
            <a:ext cx="9078562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600">
                <a:solidFill>
                  <a:schemeClr val="bg1"/>
                </a:solidFill>
              </a:rPr>
              <a:t>Winncom BEAD Portal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9F40191-0F44-4FD1-82CC-ACB507C14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575039"/>
            <a:ext cx="9785897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C570A9-E360-9763-4BCD-7771D54BE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1199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35878F3-CD42-4FA4-B835-F0690F02FFD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0748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F414E4-F529-3036-7F02-4C8082E116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939" y="2055817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/>
              <a:t>Action Items:</a:t>
            </a:r>
          </a:p>
          <a:p>
            <a:pPr marL="0" indent="0">
              <a:buNone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chedule a consultation to strategize on positioning your company for a successful BEAD application in your state</a:t>
            </a:r>
          </a:p>
          <a:p>
            <a:pPr marL="457200" indent="-457200">
              <a:buAutoNum type="arabicPeriod"/>
            </a:pPr>
            <a:r>
              <a:rPr lang="en-US" dirty="0"/>
              <a:t>Schedule a call to learn more about </a:t>
            </a:r>
            <a:r>
              <a:rPr lang="en-US" b="1" dirty="0">
                <a:solidFill>
                  <a:schemeClr val="tx2"/>
                </a:solidFill>
              </a:rPr>
              <a:t>Winncom BEAD Programs</a:t>
            </a:r>
          </a:p>
          <a:p>
            <a:pPr marL="457200" indent="-457200">
              <a:buAutoNum type="arabicPeriod"/>
            </a:pPr>
            <a:r>
              <a:rPr lang="en-US" dirty="0"/>
              <a:t>Schedule a call to learn more about Intracom Telecom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Contact Information</a:t>
            </a:r>
          </a:p>
          <a:p>
            <a:pPr marL="0" indent="0">
              <a:buNone/>
            </a:pPr>
            <a:r>
              <a:rPr lang="en-US" dirty="0"/>
              <a:t>Winncom Bead Consultation: </a:t>
            </a:r>
            <a:r>
              <a:rPr lang="en-US" dirty="0">
                <a:hlinkClick r:id="rId2"/>
              </a:rPr>
              <a:t>bead@winncom.com</a:t>
            </a: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George Harlaftis: </a:t>
            </a:r>
            <a:r>
              <a:rPr lang="en-US" dirty="0">
                <a:hlinkClick r:id="rId3"/>
              </a:rPr>
              <a:t>gharlaftis@conklin-intracom.com</a:t>
            </a:r>
            <a:r>
              <a:rPr lang="en-US" dirty="0"/>
              <a:t>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Winncom BEAD Portal</a:t>
            </a:r>
          </a:p>
          <a:p>
            <a:pPr marL="0" indent="0">
              <a:buNone/>
            </a:pPr>
            <a:r>
              <a:rPr lang="en-US" dirty="0"/>
              <a:t>Registration Link</a:t>
            </a:r>
            <a:r>
              <a:rPr lang="en-US" b="1" dirty="0"/>
              <a:t>: </a:t>
            </a:r>
            <a:r>
              <a:rPr lang="en-US" b="1" dirty="0">
                <a:hlinkClick r:id="rId4"/>
              </a:rPr>
              <a:t>www.winncomus.com/bead/</a:t>
            </a:r>
            <a:r>
              <a:rPr lang="en-US" b="1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 descr="A blue and red striped background">
            <a:extLst>
              <a:ext uri="{FF2B5EF4-FFF2-40B4-BE49-F238E27FC236}">
                <a16:creationId xmlns:a16="http://schemas.microsoft.com/office/drawing/2014/main" id="{62A7AB60-0E97-85A5-E6D1-9E70B7BED39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1997" cy="2088705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3A362E-725A-D85D-292E-86D732A9E7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25</a:t>
            </a:fld>
            <a:endParaRPr lang="en-US"/>
          </a:p>
        </p:txBody>
      </p:sp>
      <p:pic>
        <p:nvPicPr>
          <p:cNvPr id="1026" name="Picture 2" descr="APO Group - Africa Newsroom / Press release | Intracom Telecom's  Point-to-MultiPoint Technology Stands Out in South Africa">
            <a:extLst>
              <a:ext uri="{FF2B5EF4-FFF2-40B4-BE49-F238E27FC236}">
                <a16:creationId xmlns:a16="http://schemas.microsoft.com/office/drawing/2014/main" id="{C1EEB1A4-CF9B-F203-CF28-D4F011D21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728" y="5887294"/>
            <a:ext cx="3116014" cy="834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7446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191EA59-0159-0364-8774-D6A17D21D5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519" b="396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379EFD-A665-F20D-CCC7-CCB00DE27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23CFFA4C-0D1C-425F-BB04-E50ADD4A39B0}" type="slidenum">
              <a:rPr lang="en-US" sz="120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26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642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F9A3E38-E042-0120-E87A-0D795AA74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blue and red striped background">
            <a:extLst>
              <a:ext uri="{FF2B5EF4-FFF2-40B4-BE49-F238E27FC236}">
                <a16:creationId xmlns:a16="http://schemas.microsoft.com/office/drawing/2014/main" id="{42B036E5-1E5A-799E-93D2-E08705EA417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1997" cy="2088705"/>
          </a:xfrm>
          <a:prstGeom prst="rect">
            <a:avLst/>
          </a:prstGeom>
        </p:spPr>
      </p:pic>
      <p:pic>
        <p:nvPicPr>
          <p:cNvPr id="2052" name="Picture 4" descr="Questions Blue Images – Browse 131,523 Stock Photos, Vectors, and Video |  Adobe Stock">
            <a:extLst>
              <a:ext uri="{FF2B5EF4-FFF2-40B4-BE49-F238E27FC236}">
                <a16:creationId xmlns:a16="http://schemas.microsoft.com/office/drawing/2014/main" id="{C5CCF3C1-FCE8-95CA-597B-78D7DC7B26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580" y="2289514"/>
            <a:ext cx="8924925" cy="3429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03AABAB-3589-698C-014A-EF0669760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FFA4C-0D1C-425F-BB04-E50ADD4A39B0}" type="slidenum">
              <a:rPr lang="en-US" smtClean="0"/>
              <a:t>27</a:t>
            </a:fld>
            <a:endParaRPr lang="en-US"/>
          </a:p>
        </p:txBody>
      </p:sp>
      <p:pic>
        <p:nvPicPr>
          <p:cNvPr id="2" name="Picture 2" descr="APO Group - Africa Newsroom / Press release | Intracom Telecom's  Point-to-MultiPoint Technology Stands Out in South Africa">
            <a:extLst>
              <a:ext uri="{FF2B5EF4-FFF2-40B4-BE49-F238E27FC236}">
                <a16:creationId xmlns:a16="http://schemas.microsoft.com/office/drawing/2014/main" id="{FE39BA7C-2E4B-7FF9-42E1-0E58EEFFE1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4067" y="5887294"/>
            <a:ext cx="3116014" cy="834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3322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398F3DEE-0E56-499F-AFAE-C2DA7C2C81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3B9C452-2C6E-4D52-8FC7-669291EE9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E1CC44-1B7F-472B-B668-B4F2F4723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5BAD077-4A41-458D-9909-1A108699E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6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FC21CE-01FD-49CC-BAFC-06F38B34B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0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FE7FE4-4E67-8ADE-5A4F-EFB4D8407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21728"/>
            <a:ext cx="6999883" cy="96795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>
                <a:solidFill>
                  <a:srgbClr val="FFFFFF"/>
                </a:solidFill>
              </a:rPr>
              <a:t>Winncom HEX Mapping Capabilit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7B3EB4-6F67-02B2-B7F7-E5EDC91345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3" t="4336" b="3611"/>
          <a:stretch/>
        </p:blipFill>
        <p:spPr>
          <a:xfrm>
            <a:off x="3351135" y="2739441"/>
            <a:ext cx="2444322" cy="39124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10498A-D91C-A80A-71B7-FE647982C1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79" t="7840" r="3616"/>
          <a:stretch/>
        </p:blipFill>
        <p:spPr>
          <a:xfrm>
            <a:off x="6314818" y="2748988"/>
            <a:ext cx="2483946" cy="390354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E82F8FB-2743-76BA-8D16-D7F9B72AB7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8379" t="14743"/>
          <a:stretch/>
        </p:blipFill>
        <p:spPr>
          <a:xfrm>
            <a:off x="328862" y="2748988"/>
            <a:ext cx="2502912" cy="39124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A70B913-9013-CE49-C64C-FC502130469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29" t="6976" b="434"/>
          <a:stretch/>
        </p:blipFill>
        <p:spPr>
          <a:xfrm>
            <a:off x="9318125" y="2753117"/>
            <a:ext cx="2502910" cy="388510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D82D8F-2B5C-FD91-6C5B-05A5AD779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535878F3-CD42-4FA4-B835-F0690F02FFD1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3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4B36AC-1F2F-014E-3298-ABEF14A91B28}"/>
              </a:ext>
            </a:extLst>
          </p:cNvPr>
          <p:cNvSpPr txBox="1"/>
          <p:nvPr/>
        </p:nvSpPr>
        <p:spPr>
          <a:xfrm>
            <a:off x="346616" y="1897187"/>
            <a:ext cx="2444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Unserved / Underserved Mapp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22D034-5E15-57E9-898B-DE341BFC402F}"/>
              </a:ext>
            </a:extLst>
          </p:cNvPr>
          <p:cNvSpPr txBox="1"/>
          <p:nvPr/>
        </p:nvSpPr>
        <p:spPr>
          <a:xfrm>
            <a:off x="3250547" y="1897187"/>
            <a:ext cx="2444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roject Areas (80% Rule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8CE9F2-8272-352D-C7CA-7906D52C2CED}"/>
              </a:ext>
            </a:extLst>
          </p:cNvPr>
          <p:cNvSpPr txBox="1"/>
          <p:nvPr/>
        </p:nvSpPr>
        <p:spPr>
          <a:xfrm>
            <a:off x="6334630" y="1897187"/>
            <a:ext cx="2444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Existing Technology: Fiber, CBRS, DSL, Cab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47453C-9CED-0D61-6C19-049C253FB0DC}"/>
              </a:ext>
            </a:extLst>
          </p:cNvPr>
          <p:cNvSpPr txBox="1"/>
          <p:nvPr/>
        </p:nvSpPr>
        <p:spPr>
          <a:xfrm>
            <a:off x="9376713" y="1924223"/>
            <a:ext cx="2444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revious RDOF Funding</a:t>
            </a:r>
          </a:p>
        </p:txBody>
      </p:sp>
    </p:spTree>
    <p:extLst>
      <p:ext uri="{BB962C8B-B14F-4D97-AF65-F5344CB8AC3E}">
        <p14:creationId xmlns:p14="http://schemas.microsoft.com/office/powerpoint/2010/main" val="1936475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4">
                <a:lumMod val="0"/>
                <a:lumOff val="100000"/>
              </a:schemeClr>
            </a:gs>
            <a:gs pos="35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8CB16C-E1BC-6227-C185-129B8E7A6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30">
            <a:extLst>
              <a:ext uri="{FF2B5EF4-FFF2-40B4-BE49-F238E27FC236}">
                <a16:creationId xmlns:a16="http://schemas.microsoft.com/office/drawing/2014/main" id="{309CC640-3BEB-0728-6081-9C862424B22C}"/>
              </a:ext>
            </a:extLst>
          </p:cNvPr>
          <p:cNvSpPr/>
          <p:nvPr/>
        </p:nvSpPr>
        <p:spPr bwMode="auto">
          <a:xfrm>
            <a:off x="696806" y="1413301"/>
            <a:ext cx="10942366" cy="4823280"/>
          </a:xfrm>
          <a:prstGeom prst="roundRect">
            <a:avLst>
              <a:gd name="adj" fmla="val 27392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 </a:t>
            </a:r>
            <a:endParaRPr lang="en-US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3F7C3A-ED1F-01C7-BAB0-9AC9148EB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42" y="119201"/>
            <a:ext cx="8573087" cy="8631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798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WA 24 GHz / 28 GHz Overview</a:t>
            </a:r>
            <a:endParaRPr lang="el-GR" sz="2798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22970CD-7B73-D71A-21C6-81DEFCFC62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852">
              <a:defRPr/>
            </a:pPr>
            <a:fld id="{D545AE75-7117-4D34-B285-AD21001699FA}" type="slidenum">
              <a:rPr lang="ru-RU"/>
              <a:pPr defTabSz="913852">
                <a:defRPr/>
              </a:pPr>
              <a:t>4</a:t>
            </a:fld>
            <a:endParaRPr lang="ru-RU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D24CE1-BF59-D688-1A39-9D51141B1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2720" y="1845957"/>
            <a:ext cx="3944327" cy="26339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EF4B27-B1E9-11CD-FDC7-543E9B86E0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885563"/>
            <a:ext cx="5183226" cy="25943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6AC418E-5F2C-8AF3-D057-2FFAC0FB1ED5}"/>
              </a:ext>
            </a:extLst>
          </p:cNvPr>
          <p:cNvSpPr txBox="1"/>
          <p:nvPr/>
        </p:nvSpPr>
        <p:spPr>
          <a:xfrm>
            <a:off x="7175839" y="4868785"/>
            <a:ext cx="1261555" cy="3692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26"/>
            <a:r>
              <a:rPr lang="en-US" sz="1799" b="1" dirty="0">
                <a:solidFill>
                  <a:srgbClr val="FFFFFF"/>
                </a:solidFill>
                <a:latin typeface="Arial"/>
              </a:rPr>
              <a:t>Suburba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419D5-2F40-3BCA-E980-610619A19EAF}"/>
              </a:ext>
            </a:extLst>
          </p:cNvPr>
          <p:cNvSpPr txBox="1"/>
          <p:nvPr/>
        </p:nvSpPr>
        <p:spPr>
          <a:xfrm>
            <a:off x="2352559" y="4855631"/>
            <a:ext cx="1325659" cy="3692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26"/>
            <a:r>
              <a:rPr lang="en-US" sz="1799" b="1" dirty="0">
                <a:solidFill>
                  <a:srgbClr val="FFFFFF"/>
                </a:solidFill>
                <a:latin typeface="Arial"/>
              </a:rPr>
              <a:t>Semi-rur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088961-A809-09D1-FDE0-948BB3446D88}"/>
              </a:ext>
            </a:extLst>
          </p:cNvPr>
          <p:cNvSpPr txBox="1"/>
          <p:nvPr/>
        </p:nvSpPr>
        <p:spPr>
          <a:xfrm>
            <a:off x="2136591" y="5413911"/>
            <a:ext cx="8422743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799" b="1" u="sng" dirty="0">
                <a:solidFill>
                  <a:srgbClr val="FFFFFF"/>
                </a:solidFill>
                <a:latin typeface="Arial"/>
              </a:rPr>
              <a:t>Optimal point architecture: </a:t>
            </a:r>
            <a:r>
              <a:rPr lang="en-US" sz="1799" b="1" dirty="0">
                <a:solidFill>
                  <a:srgbClr val="FFFFFF"/>
                </a:solidFill>
                <a:latin typeface="Arial"/>
              </a:rPr>
              <a:t>Serving efficiently dense areas up to 480 subscribers per Base Station site, at extended range up to 6+ Miles</a:t>
            </a:r>
          </a:p>
        </p:txBody>
      </p:sp>
    </p:spTree>
    <p:extLst>
      <p:ext uri="{BB962C8B-B14F-4D97-AF65-F5344CB8AC3E}">
        <p14:creationId xmlns:p14="http://schemas.microsoft.com/office/powerpoint/2010/main" val="1446538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4">
                <a:lumMod val="0"/>
                <a:lumOff val="100000"/>
              </a:schemeClr>
            </a:gs>
            <a:gs pos="35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8CB16C-E1BC-6227-C185-129B8E7A6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F7C3A-ED1F-01C7-BAB0-9AC9148EB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42" y="119201"/>
            <a:ext cx="8573087" cy="8631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798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BAS</a:t>
            </a:r>
            <a:r>
              <a:rPr lang="en-US" sz="2798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WA – our approach  </a:t>
            </a:r>
            <a:endParaRPr lang="el-GR" sz="2798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A1B34761-AC04-86D8-F758-F9F8F8446985}"/>
              </a:ext>
            </a:extLst>
          </p:cNvPr>
          <p:cNvSpPr/>
          <p:nvPr/>
        </p:nvSpPr>
        <p:spPr bwMode="auto">
          <a:xfrm>
            <a:off x="840785" y="1485290"/>
            <a:ext cx="10343722" cy="4679301"/>
          </a:xfrm>
          <a:prstGeom prst="roundRect">
            <a:avLst>
              <a:gd name="adj" fmla="val 27392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2399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Future proof solution </a:t>
            </a:r>
            <a:r>
              <a:rPr lang="en-US" sz="2399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 Long term performance predictability</a:t>
            </a:r>
          </a:p>
          <a:p>
            <a:pPr algn="ctr" defTabSz="913852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2399" b="1" u="sng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  <a:sym typeface="Wingdings" panose="05000000000000000000" pitchFamily="2" charset="2"/>
            </a:endParaRPr>
          </a:p>
          <a:p>
            <a:pPr marL="2171048" lvl="4" indent="-342797" defTabSz="913852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998" b="1" dirty="0" err="1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LoS</a:t>
            </a: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 Technology</a:t>
            </a:r>
          </a:p>
          <a:p>
            <a:pPr marL="1828251" lvl="4" defTabSz="913852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  <a:sym typeface="Wingdings" panose="05000000000000000000" pitchFamily="2" charset="2"/>
            </a:endParaRPr>
          </a:p>
          <a:p>
            <a:pPr marL="2171048" lvl="4" indent="-342797" defTabSz="913852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Licensed spectrum</a:t>
            </a:r>
          </a:p>
          <a:p>
            <a:pPr marL="1828251" lvl="4" defTabSz="913852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  <a:sym typeface="Wingdings" panose="05000000000000000000" pitchFamily="2" charset="2"/>
            </a:endParaRPr>
          </a:p>
          <a:p>
            <a:pPr marL="2171048" lvl="4" indent="-342797" defTabSz="913852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Simplicity (L2 architecture - coreless)</a:t>
            </a:r>
          </a:p>
          <a:p>
            <a:pPr marL="2171048" lvl="4" indent="-342797" defTabSz="913852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  <a:sym typeface="Wingdings" panose="05000000000000000000" pitchFamily="2" charset="2"/>
            </a:endParaRPr>
          </a:p>
          <a:p>
            <a:pPr marL="2171048" lvl="4" indent="-342797" defTabSz="913852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Coexisting with 5G (where applicable) </a:t>
            </a:r>
          </a:p>
          <a:p>
            <a:pPr algn="ctr" defTabSz="913852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  <a:sym typeface="Wingdings" panose="05000000000000000000" pitchFamily="2" charset="2"/>
              </a:rPr>
              <a:t> </a:t>
            </a:r>
            <a:endParaRPr lang="en-US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22970CD-7B73-D71A-21C6-81DEFCFC62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852">
              <a:defRPr/>
            </a:pPr>
            <a:fld id="{D545AE75-7117-4D34-B285-AD21001699FA}" type="slidenum">
              <a:rPr lang="ru-RU"/>
              <a:pPr defTabSz="913852"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3969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4">
                <a:lumMod val="0"/>
                <a:lumOff val="100000"/>
              </a:schemeClr>
            </a:gs>
            <a:gs pos="20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3" name="Rectangle 2"/>
          <p:cNvSpPr>
            <a:spLocks noGrp="1" noChangeArrowheads="1"/>
          </p:cNvSpPr>
          <p:nvPr>
            <p:ph type="title"/>
          </p:nvPr>
        </p:nvSpPr>
        <p:spPr>
          <a:xfrm>
            <a:off x="444386" y="118337"/>
            <a:ext cx="8146517" cy="8633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19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BAS™ - 24GHz / 28GHGz Technology Overview</a:t>
            </a:r>
            <a:endParaRPr lang="ru-RU" sz="19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Slide Number Placeholder 2"/>
          <p:cNvSpPr txBox="1">
            <a:spLocks noGrp="1"/>
          </p:cNvSpPr>
          <p:nvPr/>
        </p:nvSpPr>
        <p:spPr bwMode="auto">
          <a:xfrm>
            <a:off x="282436" y="6493587"/>
            <a:ext cx="395184" cy="21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914126" fontAlgn="base">
              <a:spcBef>
                <a:spcPct val="20000"/>
              </a:spcBef>
              <a:spcAft>
                <a:spcPct val="0"/>
              </a:spcAft>
            </a:pPr>
            <a:fld id="{B3BD6CBF-9286-4F2B-A4F8-509B2839AF82}" type="slidenum">
              <a:rPr lang="ru-RU" sz="1000">
                <a:solidFill>
                  <a:srgbClr val="696A6C"/>
                </a:solidFill>
                <a:latin typeface="Arial" charset="0"/>
              </a:rPr>
              <a:pPr defTabSz="914126" fontAlgn="base">
                <a:spcBef>
                  <a:spcPct val="20000"/>
                </a:spcBef>
                <a:spcAft>
                  <a:spcPct val="0"/>
                </a:spcAft>
              </a:pPr>
              <a:t>6</a:t>
            </a:fld>
            <a:endParaRPr lang="ru-RU" sz="1000">
              <a:solidFill>
                <a:srgbClr val="696A6C"/>
              </a:solidFill>
              <a:latin typeface="Arial" charset="0"/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 bwMode="auto">
          <a:xfrm>
            <a:off x="4648581" y="6488907"/>
            <a:ext cx="3196393" cy="23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rPr>
              <a:t>Intracom</a:t>
            </a:r>
            <a:r>
              <a:rPr lang="en-US" sz="1000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rPr>
              <a:t> Telecom Confidential</a:t>
            </a:r>
            <a:endParaRPr lang="el-GR" sz="1000" dirty="0">
              <a:solidFill>
                <a:srgbClr val="FFFFFF"/>
              </a:solidFill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23" name="Footer Placeholder 3"/>
          <p:cNvSpPr txBox="1">
            <a:spLocks/>
          </p:cNvSpPr>
          <p:nvPr/>
        </p:nvSpPr>
        <p:spPr bwMode="auto">
          <a:xfrm>
            <a:off x="4648581" y="6488907"/>
            <a:ext cx="3196393" cy="23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rPr>
              <a:t>Intracom</a:t>
            </a:r>
            <a:r>
              <a:rPr lang="en-US" sz="1000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rPr>
              <a:t> Telecom Confidential</a:t>
            </a:r>
            <a:endParaRPr lang="el-GR" sz="1000" dirty="0">
              <a:solidFill>
                <a:srgbClr val="FFFFFF"/>
              </a:solidFill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480028" y="2327029"/>
            <a:ext cx="4168552" cy="902250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QoS enabled services:                                       </a:t>
            </a:r>
            <a:r>
              <a:rPr lang="en-US" sz="1600" b="1" dirty="0">
                <a:solidFill>
                  <a:srgbClr val="C00000"/>
                </a:solidFill>
                <a:latin typeface="Arial"/>
              </a:rPr>
              <a:t>Advanced Ethernet networking features and 2-stage hierarchical </a:t>
            </a:r>
            <a:r>
              <a:rPr lang="en-US" sz="1600" b="1" u="sng" dirty="0">
                <a:solidFill>
                  <a:srgbClr val="C00000"/>
                </a:solidFill>
                <a:latin typeface="Arial"/>
              </a:rPr>
              <a:t>QoS </a:t>
            </a:r>
          </a:p>
        </p:txBody>
      </p:sp>
      <p:sp>
        <p:nvSpPr>
          <p:cNvPr id="29" name="Rounded Rectangle 28"/>
          <p:cNvSpPr/>
          <p:nvPr/>
        </p:nvSpPr>
        <p:spPr bwMode="auto">
          <a:xfrm>
            <a:off x="480028" y="4496988"/>
            <a:ext cx="4168552" cy="881181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Hitless Adaptive Modulation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up to 1024 QAM</a:t>
            </a:r>
            <a:endParaRPr lang="el-GR" sz="1600" b="1" dirty="0">
              <a:solidFill>
                <a:srgbClr val="C00000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7561594" y="3384313"/>
            <a:ext cx="4095684" cy="904293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Optimized network deployment: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Integrated </a:t>
            </a:r>
            <a:r>
              <a:rPr lang="en-US" sz="1600" b="1" dirty="0" err="1">
                <a:solidFill>
                  <a:srgbClr val="C00000"/>
                </a:solidFill>
                <a:latin typeface="Arial"/>
              </a:rPr>
              <a:t>PtMP</a:t>
            </a:r>
            <a:r>
              <a:rPr lang="en-US" sz="1600" b="1" dirty="0">
                <a:solidFill>
                  <a:srgbClr val="C00000"/>
                </a:solidFill>
                <a:latin typeface="Arial"/>
              </a:rPr>
              <a:t> planning and capacity analysis tools </a:t>
            </a:r>
          </a:p>
        </p:txBody>
      </p:sp>
      <p:sp>
        <p:nvSpPr>
          <p:cNvPr id="31" name="Rounded Rectangle 30"/>
          <p:cNvSpPr/>
          <p:nvPr/>
        </p:nvSpPr>
        <p:spPr bwMode="auto">
          <a:xfrm>
            <a:off x="480028" y="1227599"/>
            <a:ext cx="4168552" cy="906164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Interference Free Networking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Licensed Spectrum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  24.25-29.50 </a:t>
            </a:r>
            <a:r>
              <a:rPr lang="en-US" sz="1600" dirty="0">
                <a:solidFill>
                  <a:srgbClr val="262626"/>
                </a:solidFill>
                <a:latin typeface="Arial"/>
              </a:rPr>
              <a:t>GHz</a:t>
            </a:r>
          </a:p>
        </p:txBody>
      </p:sp>
      <p:sp>
        <p:nvSpPr>
          <p:cNvPr id="32" name="Rounded Rectangle 31"/>
          <p:cNvSpPr/>
          <p:nvPr/>
        </p:nvSpPr>
        <p:spPr bwMode="auto">
          <a:xfrm>
            <a:off x="480028" y="3422542"/>
            <a:ext cx="4168552" cy="881181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High Performanc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Up to 5 Gbps per sector (TDD) 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7561594" y="4455141"/>
            <a:ext cx="4095684" cy="871513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ZTP automated procedures: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Auto entry / auto authentication / auto provisioning  </a:t>
            </a:r>
          </a:p>
        </p:txBody>
      </p:sp>
      <p:sp>
        <p:nvSpPr>
          <p:cNvPr id="34" name="Rounded Rectangle 33"/>
          <p:cNvSpPr/>
          <p:nvPr/>
        </p:nvSpPr>
        <p:spPr bwMode="auto">
          <a:xfrm>
            <a:off x="7561594" y="5493186"/>
            <a:ext cx="4095684" cy="919335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Lifecycle management: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Powerful centralized Management (</a:t>
            </a:r>
            <a:r>
              <a:rPr lang="en-US" sz="1600" b="1" dirty="0" err="1">
                <a:solidFill>
                  <a:srgbClr val="C00000"/>
                </a:solidFill>
                <a:latin typeface="Arial"/>
              </a:rPr>
              <a:t>UniMS</a:t>
            </a:r>
            <a:r>
              <a:rPr lang="en-US" sz="1600" b="1" dirty="0">
                <a:solidFill>
                  <a:srgbClr val="C00000"/>
                </a:solidFill>
                <a:latin typeface="Arial"/>
              </a:rPr>
              <a:t>)</a:t>
            </a:r>
          </a:p>
        </p:txBody>
      </p:sp>
      <p:sp>
        <p:nvSpPr>
          <p:cNvPr id="35" name="Rounded Rectangle 34"/>
          <p:cNvSpPr/>
          <p:nvPr/>
        </p:nvSpPr>
        <p:spPr bwMode="auto">
          <a:xfrm>
            <a:off x="7561594" y="1227599"/>
            <a:ext cx="4095684" cy="906164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High Subscriber Density: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up to 120 TS per sector</a:t>
            </a:r>
          </a:p>
        </p:txBody>
      </p:sp>
      <p:sp>
        <p:nvSpPr>
          <p:cNvPr id="36" name="Rounded Rectangle 35"/>
          <p:cNvSpPr/>
          <p:nvPr/>
        </p:nvSpPr>
        <p:spPr bwMode="auto">
          <a:xfrm>
            <a:off x="7561594" y="2300298"/>
            <a:ext cx="4095684" cy="917481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Simple Installation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Compact All Outdoor Units                 </a:t>
            </a:r>
          </a:p>
        </p:txBody>
      </p:sp>
      <p:sp>
        <p:nvSpPr>
          <p:cNvPr id="37" name="Rounded Rectangle 36"/>
          <p:cNvSpPr/>
          <p:nvPr/>
        </p:nvSpPr>
        <p:spPr bwMode="auto">
          <a:xfrm>
            <a:off x="480028" y="5571432"/>
            <a:ext cx="4168552" cy="881181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262626"/>
                </a:solidFill>
                <a:latin typeface="Arial"/>
              </a:rPr>
              <a:t>Long Range Links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00000"/>
                </a:solidFill>
                <a:latin typeface="Arial"/>
              </a:rPr>
              <a:t>up to 6 miles (1Gbps ~2miles)</a:t>
            </a:r>
            <a:endParaRPr lang="el-GR" sz="1600" b="1" dirty="0">
              <a:solidFill>
                <a:srgbClr val="C00000"/>
              </a:solidFill>
              <a:latin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5219" y="4657660"/>
            <a:ext cx="1205944" cy="17949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1" descr="A white rectangular object with holes&#10;&#10;Description automatically generated">
            <a:extLst>
              <a:ext uri="{FF2B5EF4-FFF2-40B4-BE49-F238E27FC236}">
                <a16:creationId xmlns:a16="http://schemas.microsoft.com/office/drawing/2014/main" id="{F1582178-AE54-6EB9-119E-58E9F4537F9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823" y="1095584"/>
            <a:ext cx="1624355" cy="16988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Star: 5 Points 2">
            <a:extLst>
              <a:ext uri="{FF2B5EF4-FFF2-40B4-BE49-F238E27FC236}">
                <a16:creationId xmlns:a16="http://schemas.microsoft.com/office/drawing/2014/main" id="{1FC88FC6-2C65-1404-5FAE-E4E3D9F1B00E}"/>
              </a:ext>
            </a:extLst>
          </p:cNvPr>
          <p:cNvSpPr/>
          <p:nvPr/>
        </p:nvSpPr>
        <p:spPr bwMode="auto">
          <a:xfrm>
            <a:off x="3911358" y="5714593"/>
            <a:ext cx="503925" cy="476521"/>
          </a:xfrm>
          <a:prstGeom prst="star5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126" fontAlgn="base">
              <a:spcBef>
                <a:spcPct val="20000"/>
              </a:spcBef>
              <a:spcAft>
                <a:spcPct val="0"/>
              </a:spcAft>
            </a:pPr>
            <a:endParaRPr lang="en-US" sz="1600">
              <a:solidFill>
                <a:srgbClr val="696A6C"/>
              </a:solidFill>
              <a:latin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711D62-BC56-0188-A787-B3F77A47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8210" y="2870787"/>
            <a:ext cx="1554210" cy="15420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81B118-8428-E4CB-301B-726933FD5B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0025" y="2826584"/>
            <a:ext cx="496466" cy="479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86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4">
                <a:lumMod val="0"/>
                <a:lumOff val="100000"/>
              </a:schemeClr>
            </a:gs>
            <a:gs pos="35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386" y="118337"/>
            <a:ext cx="8146517" cy="863375"/>
          </a:xfr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WiBAS Frequency of Operation</a:t>
            </a:r>
            <a:endParaRPr lang="el-G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03139" y="6484313"/>
            <a:ext cx="526913" cy="215844"/>
          </a:xfrm>
        </p:spPr>
        <p:txBody>
          <a:bodyPr/>
          <a:lstStyle/>
          <a:p>
            <a:pPr defTabSz="914126" fontAlgn="base">
              <a:spcAft>
                <a:spcPct val="0"/>
              </a:spcAft>
              <a:defRPr/>
            </a:pPr>
            <a:fld id="{A8FEDF21-34A2-4C34-8543-4A34323268A3}" type="slidenum">
              <a:rPr lang="ru-RU"/>
              <a:pPr defTabSz="914126" fontAlgn="base">
                <a:spcAft>
                  <a:spcPct val="0"/>
                </a:spcAft>
                <a:defRPr/>
              </a:pPr>
              <a:t>7</a:t>
            </a:fld>
            <a:endParaRPr lang="ru-RU" dirty="0"/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288419" y="1413301"/>
          <a:ext cx="5484973" cy="2601064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887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0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54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7510">
                <a:tc rowSpan="7"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dirty="0">
                          <a:effectLst/>
                        </a:rPr>
                        <a:t> </a:t>
                      </a: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</a:rPr>
                        <a:t>24/26/28</a:t>
                      </a:r>
                      <a:r>
                        <a:rPr lang="en-US" sz="2800" b="1" baseline="0" dirty="0">
                          <a:solidFill>
                            <a:srgbClr val="C00000"/>
                          </a:solidFill>
                          <a:effectLst/>
                        </a:rPr>
                        <a:t> </a:t>
                      </a: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</a:rPr>
                        <a:t>GHz-TDD Evo-BS</a:t>
                      </a:r>
                      <a:endParaRPr lang="el-GR" sz="2800" b="1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vert="vert27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dirty="0">
                          <a:effectLst/>
                        </a:rPr>
                        <a:t>Frequency Range (MHz) </a:t>
                      </a:r>
                      <a:endParaRPr lang="el-GR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solidFill>
                            <a:srgbClr val="C00000"/>
                          </a:solidFill>
                          <a:effectLst/>
                        </a:rPr>
                        <a:t>24,250 – 29,500</a:t>
                      </a:r>
                      <a:endParaRPr lang="el-GR" sz="1600" b="1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259">
                <a:tc vMerge="1"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l-GR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dirty="0">
                          <a:effectLst/>
                        </a:rPr>
                        <a:t>TDD Split Options</a:t>
                      </a:r>
                      <a:endParaRPr lang="el-GR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l-GR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:1 /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:2</a:t>
                      </a:r>
                      <a:endParaRPr lang="el-GR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259">
                <a:tc vMerge="1"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l-GR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dirty="0">
                          <a:effectLst/>
                        </a:rPr>
                        <a:t>Channel Sizes (MHz)</a:t>
                      </a:r>
                      <a:endParaRPr lang="el-GR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</a:rPr>
                        <a:t>40/50</a:t>
                      </a:r>
                      <a:r>
                        <a:rPr lang="en-US" sz="1800" baseline="0" dirty="0">
                          <a:effectLst/>
                        </a:rPr>
                        <a:t>/</a:t>
                      </a:r>
                      <a:r>
                        <a:rPr lang="en-US" sz="1800" dirty="0">
                          <a:effectLst/>
                        </a:rPr>
                        <a:t>100/200</a:t>
                      </a: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259">
                <a:tc vMerge="1"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l-GR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Supported</a:t>
                      </a:r>
                      <a:r>
                        <a:rPr lang="en-US" sz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 Bands</a:t>
                      </a:r>
                      <a:endParaRPr lang="el-GR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3</a:t>
                      </a:r>
                      <a:endParaRPr lang="el-GR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259">
                <a:tc vMerge="1"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l-GR" sz="2800" b="1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marL="0" indent="180975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wer</a:t>
                      </a:r>
                      <a:endParaRPr lang="el-GR" sz="12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,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500</a:t>
                      </a: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22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180975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d</a:t>
                      </a:r>
                      <a:endParaRPr lang="el-GR" sz="12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500 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8,500</a:t>
                      </a: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2259">
                <a:tc vMerge="1"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l-GR" sz="2800" b="1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marL="0" indent="180975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per</a:t>
                      </a:r>
                      <a:endParaRPr lang="el-GR" sz="12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,500 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el-GR" sz="1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9,500</a:t>
                      </a: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764843" y="2934261"/>
            <a:ext cx="184683" cy="646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6" tIns="45708" rIns="91416" bIns="45708" numCol="1" anchor="ctr" anchorCtr="0" compatLnSpc="1">
            <a:prstTxWarp prst="textNoShape">
              <a:avLst/>
            </a:prstTxWarp>
            <a:spAutoFit/>
          </a:bodyPr>
          <a:lstStyle/>
          <a:p>
            <a:pPr defTabSz="91412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br>
              <a:rPr lang="el-GR" altLang="el-GR" sz="1799">
                <a:solidFill>
                  <a:srgbClr val="000000"/>
                </a:solidFill>
                <a:latin typeface="Arial" panose="020B0604020202020204" pitchFamily="34" charset="0"/>
              </a:rPr>
            </a:br>
            <a:endParaRPr lang="el-GR" altLang="el-GR" sz="1799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9BC0AE-9263-6C95-AB26-9F1A40F501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2505" y="4508840"/>
            <a:ext cx="6856808" cy="12616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0878F39-6FF4-7B56-E5DA-7387884E3BE4}"/>
              </a:ext>
            </a:extLst>
          </p:cNvPr>
          <p:cNvSpPr txBox="1"/>
          <p:nvPr/>
        </p:nvSpPr>
        <p:spPr>
          <a:xfrm>
            <a:off x="3072452" y="5931967"/>
            <a:ext cx="6335054" cy="584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799" dirty="0">
                <a:solidFill>
                  <a:srgbClr val="FFFFFF"/>
                </a:solidFill>
                <a:latin typeface="Arial"/>
              </a:rPr>
              <a:t>FCC 28GHz assignment </a:t>
            </a:r>
          </a:p>
          <a:p>
            <a:pPr algn="ctr" defTabSz="914126"/>
            <a:r>
              <a:rPr lang="en-US" sz="1400" dirty="0">
                <a:solidFill>
                  <a:srgbClr val="FFFFFF"/>
                </a:solidFill>
                <a:latin typeface="Arial"/>
              </a:rPr>
              <a:t>(“LMDS” term as per previous FCC terminology.  Current term is “UMFUS”) </a:t>
            </a:r>
          </a:p>
        </p:txBody>
      </p:sp>
    </p:spTree>
    <p:extLst>
      <p:ext uri="{BB962C8B-B14F-4D97-AF65-F5344CB8AC3E}">
        <p14:creationId xmlns:p14="http://schemas.microsoft.com/office/powerpoint/2010/main" val="249784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4">
                <a:lumMod val="0"/>
                <a:lumOff val="100000"/>
              </a:schemeClr>
            </a:gs>
            <a:gs pos="35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58" y="84114"/>
            <a:ext cx="8672457" cy="880670"/>
          </a:xfr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WiBAS</a:t>
            </a:r>
            <a:r>
              <a:rPr lang="en-US" dirty="0"/>
              <a:t>™ G5  - Base Station variants</a:t>
            </a:r>
            <a:endParaRPr lang="el-G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74345" y="6558756"/>
            <a:ext cx="526776" cy="215788"/>
          </a:xfrm>
        </p:spPr>
        <p:txBody>
          <a:bodyPr/>
          <a:lstStyle/>
          <a:p>
            <a:pPr defTabSz="914126" fontAlgn="base">
              <a:spcAft>
                <a:spcPct val="0"/>
              </a:spcAft>
              <a:defRPr/>
            </a:pPr>
            <a:fld id="{D545AE75-7117-4D34-B285-AD21001699FA}" type="slidenum">
              <a:rPr lang="ru-RU"/>
              <a:pPr defTabSz="914126" fontAlgn="base">
                <a:spcAft>
                  <a:spcPct val="0"/>
                </a:spcAft>
                <a:defRPr/>
              </a:pPr>
              <a:t>8</a:t>
            </a:fld>
            <a:endParaRPr lang="ru-RU" dirty="0"/>
          </a:p>
        </p:txBody>
      </p:sp>
      <p:sp>
        <p:nvSpPr>
          <p:cNvPr id="25" name="Rounded Rectangle 24"/>
          <p:cNvSpPr/>
          <p:nvPr/>
        </p:nvSpPr>
        <p:spPr bwMode="auto">
          <a:xfrm>
            <a:off x="4152290" y="1513472"/>
            <a:ext cx="2175227" cy="5225484"/>
          </a:xfrm>
          <a:prstGeom prst="roundRect">
            <a:avLst>
              <a:gd name="adj" fmla="val 7876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20000"/>
              </a:spcBef>
              <a:spcAft>
                <a:spcPct val="0"/>
              </a:spcAft>
            </a:pPr>
            <a:endParaRPr lang="el-GR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261447" y="1646912"/>
            <a:ext cx="1968572" cy="4195779"/>
          </a:xfrm>
          <a:prstGeom prst="roundRect">
            <a:avLst>
              <a:gd name="adj" fmla="val 7876"/>
            </a:avLst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696A6C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4.25-29.50 GHz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6210" y="5967237"/>
            <a:ext cx="1943659" cy="5846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3336" y="3300506"/>
            <a:ext cx="1468094" cy="14578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ounded Rectangle 25"/>
          <p:cNvSpPr/>
          <p:nvPr/>
        </p:nvSpPr>
        <p:spPr bwMode="auto">
          <a:xfrm>
            <a:off x="6503176" y="1513472"/>
            <a:ext cx="2175227" cy="5225484"/>
          </a:xfrm>
          <a:prstGeom prst="roundRect">
            <a:avLst>
              <a:gd name="adj" fmla="val 7876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20000"/>
              </a:spcBef>
              <a:spcAft>
                <a:spcPct val="0"/>
              </a:spcAft>
            </a:pPr>
            <a:endParaRPr lang="el-GR" sz="1998" b="1" dirty="0">
              <a:solidFill>
                <a:srgbClr val="8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sp>
        <p:nvSpPr>
          <p:cNvPr id="27" name="Rounded Rectangle 26"/>
          <p:cNvSpPr/>
          <p:nvPr/>
        </p:nvSpPr>
        <p:spPr bwMode="auto">
          <a:xfrm>
            <a:off x="6612332" y="1646912"/>
            <a:ext cx="1968572" cy="4195779"/>
          </a:xfrm>
          <a:prstGeom prst="roundRect">
            <a:avLst>
              <a:gd name="adj" fmla="val 7876"/>
            </a:avLst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algn="ctr" defTabSz="914126" fontAlgn="base">
              <a:spcAft>
                <a:spcPct val="0"/>
              </a:spcAft>
            </a:pPr>
            <a:r>
              <a:rPr lang="en-US" sz="1600" b="1" dirty="0">
                <a:solidFill>
                  <a:srgbClr val="696A6C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6.5-28.50 GHz </a:t>
            </a:r>
            <a:r>
              <a:rPr lang="en-US" sz="1500" b="1" dirty="0">
                <a:solidFill>
                  <a:srgbClr val="696A6C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4x4 MU-MIMO</a:t>
            </a:r>
          </a:p>
          <a:p>
            <a:pPr algn="ctr" defTabSz="914126" fontAlgn="base">
              <a:spcAft>
                <a:spcPct val="0"/>
              </a:spcAft>
            </a:pPr>
            <a:r>
              <a:rPr lang="en-US" sz="1500" b="1" dirty="0">
                <a:solidFill>
                  <a:srgbClr val="696A6C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Beamforming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093" y="5967237"/>
            <a:ext cx="1973810" cy="591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3688" y="2621785"/>
            <a:ext cx="1510950" cy="182928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3019" y="4671395"/>
            <a:ext cx="1766680" cy="9006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7448" y="4661373"/>
            <a:ext cx="1766680" cy="9106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3" name="Rounded Rectangle 42"/>
          <p:cNvSpPr/>
          <p:nvPr/>
        </p:nvSpPr>
        <p:spPr bwMode="auto">
          <a:xfrm>
            <a:off x="4152291" y="1090284"/>
            <a:ext cx="4526112" cy="353610"/>
          </a:xfrm>
          <a:prstGeom prst="roundRect">
            <a:avLst>
              <a:gd name="adj" fmla="val 27392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20000"/>
              </a:spcBef>
              <a:spcAft>
                <a:spcPct val="0"/>
              </a:spcAft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TDD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889280" y="2836592"/>
            <a:ext cx="1622089" cy="830628"/>
          </a:xfrm>
          <a:prstGeom prst="rect">
            <a:avLst/>
          </a:prstGeom>
          <a:noFill/>
        </p:spPr>
        <p:txBody>
          <a:bodyPr wrap="none" lIns="91392" tIns="45696" rIns="91392" bIns="45696">
            <a:spAutoFit/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799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00"/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100/200 MHz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2998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00"/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5 Gbp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312613" y="2836592"/>
            <a:ext cx="1941005" cy="830628"/>
          </a:xfrm>
          <a:prstGeom prst="rect">
            <a:avLst/>
          </a:prstGeom>
          <a:noFill/>
        </p:spPr>
        <p:txBody>
          <a:bodyPr wrap="none" lIns="91392" tIns="45696" rIns="91392" bIns="45696">
            <a:spAutoFit/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799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FF">
                    <a:lumMod val="85000"/>
                    <a:alpha val="44000"/>
                  </a:srgbClr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40 /50 /100 MHz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2998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FF">
                    <a:lumMod val="85000"/>
                    <a:alpha val="44000"/>
                  </a:srgbClr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800Mbp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6C2265-4887-C4A4-B338-2C6E7CCD5E3B}"/>
              </a:ext>
            </a:extLst>
          </p:cNvPr>
          <p:cNvSpPr txBox="1"/>
          <p:nvPr/>
        </p:nvSpPr>
        <p:spPr>
          <a:xfrm>
            <a:off x="4442295" y="2113656"/>
            <a:ext cx="157148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799" dirty="0">
                <a:solidFill>
                  <a:srgbClr val="000000"/>
                </a:solidFill>
                <a:latin typeface="Arial"/>
              </a:rPr>
              <a:t>FCC certified</a:t>
            </a:r>
          </a:p>
        </p:txBody>
      </p:sp>
    </p:spTree>
    <p:extLst>
      <p:ext uri="{BB962C8B-B14F-4D97-AF65-F5344CB8AC3E}">
        <p14:creationId xmlns:p14="http://schemas.microsoft.com/office/powerpoint/2010/main" val="2301142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4">
                <a:lumMod val="0"/>
                <a:lumOff val="100000"/>
              </a:schemeClr>
            </a:gs>
            <a:gs pos="35000">
              <a:schemeClr val="accent4">
                <a:lumMod val="0"/>
                <a:lumOff val="100000"/>
              </a:schemeClr>
            </a:gs>
            <a:gs pos="100000">
              <a:schemeClr val="accent4">
                <a:lumMod val="10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 bwMode="auto">
          <a:xfrm>
            <a:off x="2928473" y="1664618"/>
            <a:ext cx="3021637" cy="5004901"/>
          </a:xfrm>
          <a:prstGeom prst="roundRect">
            <a:avLst>
              <a:gd name="adj" fmla="val 7876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b" anchorCtr="1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</a:pPr>
            <a:endParaRPr lang="el-GR" sz="3198" b="1" dirty="0">
              <a:solidFill>
                <a:srgbClr val="FFFFF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842" y="119201"/>
            <a:ext cx="8573087" cy="8631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798" dirty="0" err="1"/>
              <a:t>WiBAS</a:t>
            </a:r>
            <a:r>
              <a:rPr lang="en-US" sz="2798" dirty="0"/>
              <a:t>™ G5 </a:t>
            </a:r>
            <a:r>
              <a:rPr lang="en-US" sz="2798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Terminal Station Variants</a:t>
            </a:r>
            <a:endParaRPr lang="el-GR" sz="2798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3082798" y="1834460"/>
            <a:ext cx="2712986" cy="3948225"/>
          </a:xfrm>
          <a:prstGeom prst="roundRect">
            <a:avLst>
              <a:gd name="adj" fmla="val 7876"/>
            </a:avLst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696A6C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4.25-29.50 GHz</a:t>
            </a:r>
            <a:endParaRPr lang="el-GR" sz="1600" b="1" dirty="0">
              <a:solidFill>
                <a:srgbClr val="696A6C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4193" y="5879221"/>
            <a:ext cx="2116909" cy="6367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289" y="2159260"/>
            <a:ext cx="1676530" cy="24785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Rounded Rectangle 18"/>
          <p:cNvSpPr/>
          <p:nvPr/>
        </p:nvSpPr>
        <p:spPr bwMode="auto">
          <a:xfrm>
            <a:off x="6525299" y="1664619"/>
            <a:ext cx="3021637" cy="5004901"/>
          </a:xfrm>
          <a:prstGeom prst="roundRect">
            <a:avLst>
              <a:gd name="adj" fmla="val 7876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b" anchorCtr="1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</a:pPr>
            <a:endParaRPr lang="el-GR" sz="3198" b="1" dirty="0">
              <a:solidFill>
                <a:srgbClr val="FFFFF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6679625" y="1825410"/>
            <a:ext cx="2712986" cy="3948225"/>
          </a:xfrm>
          <a:prstGeom prst="roundRect">
            <a:avLst>
              <a:gd name="adj" fmla="val 7876"/>
            </a:avLst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696A6C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6.5-28.50 GHz</a:t>
            </a:r>
            <a:endParaRPr lang="el-GR" sz="1600" b="1" dirty="0">
              <a:solidFill>
                <a:srgbClr val="696A6C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6534" y="4728042"/>
            <a:ext cx="1799165" cy="914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8637" y="4723676"/>
            <a:ext cx="1821304" cy="9230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1" name="Rounded Rectangle 30"/>
          <p:cNvSpPr/>
          <p:nvPr/>
        </p:nvSpPr>
        <p:spPr bwMode="auto">
          <a:xfrm>
            <a:off x="2928474" y="1169462"/>
            <a:ext cx="6618463" cy="353610"/>
          </a:xfrm>
          <a:prstGeom prst="roundRect">
            <a:avLst>
              <a:gd name="adj" fmla="val 27392"/>
            </a:avLst>
          </a:prstGeom>
          <a:gradFill flip="none" rotWithShape="1">
            <a:gsLst>
              <a:gs pos="20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50000"/>
                  <a:lumOff val="5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2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913852" fontAlgn="base">
              <a:spcBef>
                <a:spcPct val="20000"/>
              </a:spcBef>
              <a:spcAft>
                <a:spcPct val="0"/>
              </a:spcAft>
            </a:pPr>
            <a:r>
              <a:rPr lang="en-US" sz="1998" b="1" dirty="0">
                <a:solidFill>
                  <a:srgbClr val="80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TDD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412661" y="2946625"/>
            <a:ext cx="1941004" cy="1292045"/>
          </a:xfrm>
          <a:prstGeom prst="rect">
            <a:avLst/>
          </a:prstGeom>
          <a:noFill/>
        </p:spPr>
        <p:txBody>
          <a:bodyPr wrap="none" lIns="91392" tIns="45696" rIns="91392" bIns="45696">
            <a:spAutoFit/>
          </a:bodyPr>
          <a:lstStyle/>
          <a:p>
            <a:pPr algn="ctr" defTabSz="913852" fontAlgn="base">
              <a:spcBef>
                <a:spcPct val="0"/>
              </a:spcBef>
              <a:spcAft>
                <a:spcPct val="0"/>
              </a:spcAft>
            </a:pPr>
            <a:r>
              <a:rPr lang="en-US" sz="1799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FF">
                    <a:lumMod val="85000"/>
                    <a:alpha val="44000"/>
                  </a:srgbClr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40 / 50/ 100MHz</a:t>
            </a:r>
            <a:endParaRPr lang="el-GR" sz="1799" b="1" dirty="0">
              <a:ln w="25400">
                <a:solidFill>
                  <a:srgbClr val="870000"/>
                </a:solidFill>
                <a:prstDash val="solid"/>
              </a:ln>
              <a:solidFill>
                <a:srgbClr val="FFFFFF">
                  <a:lumMod val="85000"/>
                  <a:alpha val="44000"/>
                </a:srgbClr>
              </a:solidFill>
              <a:effectLst>
                <a:innerShdw blurRad="177800">
                  <a:srgbClr val="FFFFFF">
                    <a:lumMod val="50000"/>
                  </a:srgbClr>
                </a:innerShdw>
              </a:effectLst>
              <a:latin typeface="Arial Rounded MT Bold" panose="020F0704030504030204" pitchFamily="34" charset="0"/>
            </a:endParaRPr>
          </a:p>
          <a:p>
            <a:pPr algn="ctr" defTabSz="913852" fontAlgn="base">
              <a:spcBef>
                <a:spcPct val="0"/>
              </a:spcBef>
              <a:spcAft>
                <a:spcPct val="0"/>
              </a:spcAft>
            </a:pPr>
            <a:r>
              <a:rPr lang="en-US" sz="2998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FF">
                    <a:lumMod val="85000"/>
                    <a:alpha val="44000"/>
                  </a:srgbClr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0.8 Gbps</a:t>
            </a:r>
            <a:endParaRPr lang="el-GR" sz="2998" b="1" dirty="0">
              <a:ln w="25400">
                <a:solidFill>
                  <a:srgbClr val="870000"/>
                </a:solidFill>
                <a:prstDash val="solid"/>
              </a:ln>
              <a:solidFill>
                <a:srgbClr val="FFFFFF">
                  <a:lumMod val="85000"/>
                  <a:alpha val="44000"/>
                </a:srgbClr>
              </a:solidFill>
              <a:effectLst>
                <a:innerShdw blurRad="177800">
                  <a:srgbClr val="FFFFFF">
                    <a:lumMod val="50000"/>
                  </a:srgbClr>
                </a:innerShdw>
              </a:effectLst>
              <a:latin typeface="Arial Rounded MT Bold" panose="020F0704030504030204" pitchFamily="34" charset="0"/>
            </a:endParaRPr>
          </a:p>
          <a:p>
            <a:pPr algn="ctr" defTabSz="913852" fontAlgn="base">
              <a:spcBef>
                <a:spcPct val="0"/>
              </a:spcBef>
              <a:spcAft>
                <a:spcPct val="0"/>
              </a:spcAft>
            </a:pPr>
            <a:endParaRPr lang="el-GR" sz="2998" b="1" dirty="0">
              <a:ln w="25400">
                <a:solidFill>
                  <a:srgbClr val="870000"/>
                </a:solidFill>
                <a:prstDash val="solid"/>
              </a:ln>
              <a:solidFill>
                <a:srgbClr val="FFFFFF">
                  <a:lumMod val="85000"/>
                  <a:alpha val="44000"/>
                </a:srgbClr>
              </a:solidFill>
              <a:effectLst>
                <a:innerShdw blurRad="177800">
                  <a:srgbClr val="FFFFFF">
                    <a:lumMod val="50000"/>
                  </a:srgbClr>
                </a:innerShdw>
              </a:effectLst>
              <a:latin typeface="Arial Rounded MT Bold" panose="020F07040305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39" y="5872926"/>
            <a:ext cx="2216983" cy="7549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71006" y="2198709"/>
            <a:ext cx="1510450" cy="2413035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7190735" y="2946624"/>
            <a:ext cx="1737475" cy="830628"/>
          </a:xfrm>
          <a:prstGeom prst="rect">
            <a:avLst/>
          </a:prstGeom>
          <a:noFill/>
        </p:spPr>
        <p:txBody>
          <a:bodyPr wrap="none" lIns="91392" tIns="45696" rIns="91392" bIns="45696">
            <a:spAutoFit/>
          </a:bodyPr>
          <a:lstStyle/>
          <a:p>
            <a:pPr algn="ctr" defTabSz="913852" fontAlgn="base">
              <a:spcBef>
                <a:spcPct val="0"/>
              </a:spcBef>
              <a:spcAft>
                <a:spcPct val="0"/>
              </a:spcAft>
            </a:pPr>
            <a:r>
              <a:rPr lang="en-US" sz="1799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FF">
                    <a:lumMod val="85000"/>
                    <a:alpha val="44000"/>
                  </a:srgbClr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100 / 200 MHz</a:t>
            </a:r>
          </a:p>
          <a:p>
            <a:pPr algn="ctr" defTabSz="913852" fontAlgn="base">
              <a:spcBef>
                <a:spcPct val="0"/>
              </a:spcBef>
              <a:spcAft>
                <a:spcPct val="0"/>
              </a:spcAft>
            </a:pPr>
            <a:r>
              <a:rPr lang="en-US" sz="2998" b="1" dirty="0">
                <a:ln w="25400">
                  <a:solidFill>
                    <a:srgbClr val="870000"/>
                  </a:solidFill>
                  <a:prstDash val="solid"/>
                </a:ln>
                <a:solidFill>
                  <a:srgbClr val="FFFF00">
                    <a:alpha val="44000"/>
                  </a:srgbClr>
                </a:solidFill>
                <a:effectLst>
                  <a:innerShdw blurRad="177800">
                    <a:srgbClr val="FFFFFF">
                      <a:lumMod val="50000"/>
                    </a:srgbClr>
                  </a:innerShdw>
                </a:effectLst>
                <a:latin typeface="Arial Rounded MT Bold" panose="020F0704030504030204" pitchFamily="34" charset="0"/>
              </a:rPr>
              <a:t>1 Gbp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886C37A-E708-4B3A-1D10-1FC75C8AAC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852">
              <a:defRPr/>
            </a:pPr>
            <a:fld id="{D545AE75-7117-4D34-B285-AD21001699FA}" type="slidenum">
              <a:rPr lang="ru-RU"/>
              <a:pPr defTabSz="913852">
                <a:defRPr/>
              </a:pPr>
              <a:t>9</a:t>
            </a:fld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FDCCD4-3003-4819-20C3-686E841DC4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43315" y="3691664"/>
            <a:ext cx="505880" cy="475405"/>
          </a:xfrm>
          <a:prstGeom prst="rect">
            <a:avLst/>
          </a:prstGeom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971E1A-48D3-EC51-27B4-36F8045333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10339" y="2446840"/>
            <a:ext cx="1627349" cy="49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0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1. White">
  <a:themeElements>
    <a:clrScheme name="Nokia 2.0">
      <a:dk1>
        <a:srgbClr val="001135"/>
      </a:dk1>
      <a:lt1>
        <a:srgbClr val="FFFFFF"/>
      </a:lt1>
      <a:dk2>
        <a:srgbClr val="666666"/>
      </a:dk2>
      <a:lt2>
        <a:srgbClr val="EBEBEB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fonts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0"/>
          </a:spcAft>
          <a:buSzPct val="100000"/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3 - PowerPoint template v2.1.potx" id="{27821F35-33F1-48B5-99FB-3E69840039D8}" vid="{2B6959B6-4CB4-42A2-A6A8-D6E11151AED6}"/>
    </a:ext>
  </a:extLst>
</a:theme>
</file>

<file path=ppt/theme/theme5.xml><?xml version="1.0" encoding="utf-8"?>
<a:theme xmlns:a="http://schemas.openxmlformats.org/drawingml/2006/main" name="2_sitronics TS_presentation_rus">
  <a:themeElements>
    <a:clrScheme name="sitronics TS_presentation_ru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itronics TS_presentation_ru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itronics TS_presentation_r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Intracom Telecom">
  <a:themeElements>
    <a:clrScheme name="sitronics TS_presentation_ru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itronics TS_presentation_ru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itronics TS_presentation_r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Intracom Telecom">
  <a:themeElements>
    <a:clrScheme name="sitronics TS_presentation_ru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itronics TS_presentation_ru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itronics TS_presentation_r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Intracom Telecom">
  <a:themeElements>
    <a:clrScheme name="sitronics TS_presentation_ru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itronics TS_presentation_ru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696A6C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itronics TS_presentation_r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tronics TS_presentation_r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tronics TS_presentation_r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54</TotalTime>
  <Words>1514</Words>
  <Application>Microsoft Office PowerPoint</Application>
  <PresentationFormat>Widescreen</PresentationFormat>
  <Paragraphs>278</Paragraphs>
  <Slides>2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55" baseType="lpstr">
      <vt:lpstr>MS PGothic</vt:lpstr>
      <vt:lpstr>Aptos</vt:lpstr>
      <vt:lpstr>Arial</vt:lpstr>
      <vt:lpstr>Arial Rounded MT Bold</vt:lpstr>
      <vt:lpstr>Armata</vt:lpstr>
      <vt:lpstr>BPreplay</vt:lpstr>
      <vt:lpstr>Calibri</vt:lpstr>
      <vt:lpstr>Calibri Light</vt:lpstr>
      <vt:lpstr>Courier New</vt:lpstr>
      <vt:lpstr>Montserrat</vt:lpstr>
      <vt:lpstr>Nokia Pure Headline Light</vt:lpstr>
      <vt:lpstr>Nokia Pure Headline Ultra Light</vt:lpstr>
      <vt:lpstr>Nokia Pure Text</vt:lpstr>
      <vt:lpstr>Nokia Pure Text Light</vt:lpstr>
      <vt:lpstr>PF Square Sans Pro</vt:lpstr>
      <vt:lpstr>Poppins-Regular</vt:lpstr>
      <vt:lpstr>Segoe UI</vt:lpstr>
      <vt:lpstr>Webdings</vt:lpstr>
      <vt:lpstr>Wingdings</vt:lpstr>
      <vt:lpstr>Office Theme</vt:lpstr>
      <vt:lpstr>1_Custom Design</vt:lpstr>
      <vt:lpstr>1_Office Theme</vt:lpstr>
      <vt:lpstr>2_1. White</vt:lpstr>
      <vt:lpstr>2_sitronics TS_presentation_rus</vt:lpstr>
      <vt:lpstr>2_Intracom Telecom</vt:lpstr>
      <vt:lpstr>Intracom Telecom</vt:lpstr>
      <vt:lpstr>5_Intracom Telecom</vt:lpstr>
      <vt:lpstr>think-cell Slide</vt:lpstr>
      <vt:lpstr>PowerPoint Presentation</vt:lpstr>
      <vt:lpstr>OFFENSIVE  - VS - DEFENSIVE</vt:lpstr>
      <vt:lpstr>Winncom HEX Mapping Capabilities</vt:lpstr>
      <vt:lpstr>FWA 24 GHz / 28 GHz Overview</vt:lpstr>
      <vt:lpstr>WiBAS FWA – our approach  </vt:lpstr>
      <vt:lpstr>WiBAS™ - 24GHz / 28GHGz Technology Overview</vt:lpstr>
      <vt:lpstr>WiBAS Frequency of Operation</vt:lpstr>
      <vt:lpstr>WiBAS™ G5  - Base Station variants</vt:lpstr>
      <vt:lpstr>WiBAS™ G5 - Terminal Station Variants</vt:lpstr>
      <vt:lpstr>WiBAS™ purpose-built FWA, delivering excellence in EOLO</vt:lpstr>
      <vt:lpstr>PowerPoint Presentation</vt:lpstr>
      <vt:lpstr>Nationwide 24/28 GHz Availability</vt:lpstr>
      <vt:lpstr>State of Microwave links today</vt:lpstr>
      <vt:lpstr>Ultralink-GX80: Highest system gain in market @10Gbps</vt:lpstr>
      <vt:lpstr>UltraLinkTM-GX80  -  Functionality highlights</vt:lpstr>
      <vt:lpstr>PowerPoint Presentation</vt:lpstr>
      <vt:lpstr>PowerPoint Presentation</vt:lpstr>
      <vt:lpstr>Winncom Grant Writing Services</vt:lpstr>
      <vt:lpstr>Timeline Estimates</vt:lpstr>
      <vt:lpstr>PowerPoint Presentation</vt:lpstr>
      <vt:lpstr>PowerPoint Presentation</vt:lpstr>
      <vt:lpstr>PowerPoint Presentation</vt:lpstr>
      <vt:lpstr>PowerPoint Presentation</vt:lpstr>
      <vt:lpstr>Winncom BEAD Portal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aine Parks</dc:creator>
  <cp:lastModifiedBy>Alex Cernik</cp:lastModifiedBy>
  <cp:revision>18</cp:revision>
  <dcterms:created xsi:type="dcterms:W3CDTF">2022-04-29T17:56:13Z</dcterms:created>
  <dcterms:modified xsi:type="dcterms:W3CDTF">2024-06-06T16:19:49Z</dcterms:modified>
</cp:coreProperties>
</file>